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56" r:id="rId5"/>
    <p:sldId id="277" r:id="rId6"/>
    <p:sldId id="279" r:id="rId7"/>
    <p:sldId id="278"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66CC33"/>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56C62F-12F5-4183-B6B4-9585C4031DA1}" v="23" dt="2025-05-08T12:57:31.562"/>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95343" autoAdjust="0"/>
  </p:normalViewPr>
  <p:slideViewPr>
    <p:cSldViewPr snapToGrid="0" showGuides="1">
      <p:cViewPr varScale="1">
        <p:scale>
          <a:sx n="75" d="100"/>
          <a:sy n="75" d="100"/>
        </p:scale>
        <p:origin x="341" y="53"/>
      </p:cViewPr>
      <p:guideLst/>
    </p:cSldViewPr>
  </p:slideViewPr>
  <p:notesTextViewPr>
    <p:cViewPr>
      <p:scale>
        <a:sx n="1" d="1"/>
        <a:sy n="1" d="1"/>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varo Charlet" userId="5130afce-2030-434f-ad8a-0a98c5ab6b26" providerId="ADAL" clId="{9D56C62F-12F5-4183-B6B4-9585C4031DA1}"/>
    <pc:docChg chg="undo redo custSel addSld delSld modSld sldOrd">
      <pc:chgData name="Alvaro Charlet" userId="5130afce-2030-434f-ad8a-0a98c5ab6b26" providerId="ADAL" clId="{9D56C62F-12F5-4183-B6B4-9585C4031DA1}" dt="2025-05-08T13:34:19.613" v="746" actId="47"/>
      <pc:docMkLst>
        <pc:docMk/>
      </pc:docMkLst>
      <pc:sldChg chg="addSp delSp modSp mod modTransition delAnim modAnim modNotesTx">
        <pc:chgData name="Alvaro Charlet" userId="5130afce-2030-434f-ad8a-0a98c5ab6b26" providerId="ADAL" clId="{9D56C62F-12F5-4183-B6B4-9585C4031DA1}" dt="2025-05-08T12:57:31.562" v="745"/>
        <pc:sldMkLst>
          <pc:docMk/>
          <pc:sldMk cId="3221050036" sldId="256"/>
        </pc:sldMkLst>
        <pc:spChg chg="del">
          <ac:chgData name="Alvaro Charlet" userId="5130afce-2030-434f-ad8a-0a98c5ab6b26" providerId="ADAL" clId="{9D56C62F-12F5-4183-B6B4-9585C4031DA1}" dt="2025-05-08T12:09:50.294" v="68" actId="21"/>
          <ac:spMkLst>
            <pc:docMk/>
            <pc:sldMk cId="3221050036" sldId="256"/>
            <ac:spMk id="14" creationId="{0E8B7966-F6BC-40A3-9CDC-48E143A4C3BF}"/>
          </ac:spMkLst>
        </pc:spChg>
        <pc:picChg chg="add del mod">
          <ac:chgData name="Alvaro Charlet" userId="5130afce-2030-434f-ad8a-0a98c5ab6b26" providerId="ADAL" clId="{9D56C62F-12F5-4183-B6B4-9585C4031DA1}" dt="2025-05-08T12:39:20.881" v="570"/>
          <ac:picMkLst>
            <pc:docMk/>
            <pc:sldMk cId="3221050036" sldId="256"/>
            <ac:picMk id="21" creationId="{5EBDF79E-7795-4029-9220-9F1A53DDEC03}"/>
          </ac:picMkLst>
        </pc:picChg>
        <pc:picChg chg="add del mod">
          <ac:chgData name="Alvaro Charlet" userId="5130afce-2030-434f-ad8a-0a98c5ab6b26" providerId="ADAL" clId="{9D56C62F-12F5-4183-B6B4-9585C4031DA1}" dt="2025-05-08T12:40:42.656" v="656" actId="478"/>
          <ac:picMkLst>
            <pc:docMk/>
            <pc:sldMk cId="3221050036" sldId="256"/>
            <ac:picMk id="24" creationId="{3B7EEC2A-5937-B552-308A-7772DE71C254}"/>
          </ac:picMkLst>
        </pc:picChg>
        <pc:picChg chg="add del mod">
          <ac:chgData name="Alvaro Charlet" userId="5130afce-2030-434f-ad8a-0a98c5ab6b26" providerId="ADAL" clId="{9D56C62F-12F5-4183-B6B4-9585C4031DA1}" dt="2025-05-08T12:44:00.382" v="660"/>
          <ac:picMkLst>
            <pc:docMk/>
            <pc:sldMk cId="3221050036" sldId="256"/>
            <ac:picMk id="27" creationId="{DF4C75C1-3C83-E018-8AD2-209F961B2F11}"/>
          </ac:picMkLst>
        </pc:picChg>
        <pc:picChg chg="add del mod">
          <ac:chgData name="Alvaro Charlet" userId="5130afce-2030-434f-ad8a-0a98c5ab6b26" providerId="ADAL" clId="{9D56C62F-12F5-4183-B6B4-9585C4031DA1}" dt="2025-05-08T12:46:48.291" v="732"/>
          <ac:picMkLst>
            <pc:docMk/>
            <pc:sldMk cId="3221050036" sldId="256"/>
            <ac:picMk id="28" creationId="{DBE33056-90B6-3478-1878-90CF8C160C90}"/>
          </ac:picMkLst>
        </pc:picChg>
        <pc:picChg chg="add del mod">
          <ac:chgData name="Alvaro Charlet" userId="5130afce-2030-434f-ad8a-0a98c5ab6b26" providerId="ADAL" clId="{9D56C62F-12F5-4183-B6B4-9585C4031DA1}" dt="2025-05-08T12:50:22.172" v="738"/>
          <ac:picMkLst>
            <pc:docMk/>
            <pc:sldMk cId="3221050036" sldId="256"/>
            <ac:picMk id="31" creationId="{E3FEAB83-0125-E918-33D6-ADE253603DA6}"/>
          </ac:picMkLst>
        </pc:picChg>
        <pc:picChg chg="add del mod ord">
          <ac:chgData name="Alvaro Charlet" userId="5130afce-2030-434f-ad8a-0a98c5ab6b26" providerId="ADAL" clId="{9D56C62F-12F5-4183-B6B4-9585C4031DA1}" dt="2025-05-08T12:53:13.786" v="739"/>
          <ac:picMkLst>
            <pc:docMk/>
            <pc:sldMk cId="3221050036" sldId="256"/>
            <ac:picMk id="33" creationId="{72B4CE45-5FA7-8BEA-F143-7212705097EB}"/>
          </ac:picMkLst>
        </pc:picChg>
        <pc:picChg chg="add del mod">
          <ac:chgData name="Alvaro Charlet" userId="5130afce-2030-434f-ad8a-0a98c5ab6b26" providerId="ADAL" clId="{9D56C62F-12F5-4183-B6B4-9585C4031DA1}" dt="2025-05-08T12:56:33.666" v="741"/>
          <ac:picMkLst>
            <pc:docMk/>
            <pc:sldMk cId="3221050036" sldId="256"/>
            <ac:picMk id="34" creationId="{27EE3507-0324-30A0-7B14-DB9D8D786D75}"/>
          </ac:picMkLst>
        </pc:picChg>
        <pc:picChg chg="add del mod ord">
          <ac:chgData name="Alvaro Charlet" userId="5130afce-2030-434f-ad8a-0a98c5ab6b26" providerId="ADAL" clId="{9D56C62F-12F5-4183-B6B4-9585C4031DA1}" dt="2025-05-08T12:56:49.966" v="742"/>
          <ac:picMkLst>
            <pc:docMk/>
            <pc:sldMk cId="3221050036" sldId="256"/>
            <ac:picMk id="38" creationId="{68BD395C-9A64-5886-21BE-851C31D0FC28}"/>
          </ac:picMkLst>
        </pc:picChg>
        <pc:picChg chg="add del mod">
          <ac:chgData name="Alvaro Charlet" userId="5130afce-2030-434f-ad8a-0a98c5ab6b26" providerId="ADAL" clId="{9D56C62F-12F5-4183-B6B4-9585C4031DA1}" dt="2025-05-08T12:57:15.815" v="744"/>
          <ac:picMkLst>
            <pc:docMk/>
            <pc:sldMk cId="3221050036" sldId="256"/>
            <ac:picMk id="39" creationId="{4AD4266F-99D5-157A-843E-024E8D6AF7B4}"/>
          </ac:picMkLst>
        </pc:picChg>
        <pc:picChg chg="add del mod ord">
          <ac:chgData name="Alvaro Charlet" userId="5130afce-2030-434f-ad8a-0a98c5ab6b26" providerId="ADAL" clId="{9D56C62F-12F5-4183-B6B4-9585C4031DA1}" dt="2025-05-08T12:57:31.562" v="745"/>
          <ac:picMkLst>
            <pc:docMk/>
            <pc:sldMk cId="3221050036" sldId="256"/>
            <ac:picMk id="43" creationId="{AC0D75B4-A128-BE64-A851-1BF83B8C40CE}"/>
          </ac:picMkLst>
        </pc:picChg>
        <pc:picChg chg="add mod">
          <ac:chgData name="Alvaro Charlet" userId="5130afce-2030-434f-ad8a-0a98c5ab6b26" providerId="ADAL" clId="{9D56C62F-12F5-4183-B6B4-9585C4031DA1}" dt="2025-05-08T12:57:31.562" v="745"/>
          <ac:picMkLst>
            <pc:docMk/>
            <pc:sldMk cId="3221050036" sldId="256"/>
            <ac:picMk id="44" creationId="{FFF26137-ABF4-EC25-4752-6BDEEE135B64}"/>
          </ac:picMkLst>
        </pc:picChg>
      </pc:sldChg>
      <pc:sldChg chg="addSp delSp modSp modTransition modAnim">
        <pc:chgData name="Alvaro Charlet" userId="5130afce-2030-434f-ad8a-0a98c5ab6b26" providerId="ADAL" clId="{9D56C62F-12F5-4183-B6B4-9585C4031DA1}" dt="2025-05-08T12:50:22.172" v="738"/>
        <pc:sldMkLst>
          <pc:docMk/>
          <pc:sldMk cId="2720951551" sldId="275"/>
        </pc:sldMkLst>
        <pc:picChg chg="add del mod">
          <ac:chgData name="Alvaro Charlet" userId="5130afce-2030-434f-ad8a-0a98c5ab6b26" providerId="ADAL" clId="{9D56C62F-12F5-4183-B6B4-9585C4031DA1}" dt="2025-05-08T12:39:20.881" v="570"/>
          <ac:picMkLst>
            <pc:docMk/>
            <pc:sldMk cId="2720951551" sldId="275"/>
            <ac:picMk id="3" creationId="{9AB5863C-A542-C22B-CB26-C8F9C0117F10}"/>
          </ac:picMkLst>
        </pc:picChg>
      </pc:sldChg>
      <pc:sldChg chg="addSp delSp modSp mod modTransition modAnim modNotesTx">
        <pc:chgData name="Alvaro Charlet" userId="5130afce-2030-434f-ad8a-0a98c5ab6b26" providerId="ADAL" clId="{9D56C62F-12F5-4183-B6B4-9585C4031DA1}" dt="2025-05-08T12:53:13.786" v="739"/>
        <pc:sldMkLst>
          <pc:docMk/>
          <pc:sldMk cId="1476669966" sldId="277"/>
        </pc:sldMkLst>
        <pc:spChg chg="mod">
          <ac:chgData name="Alvaro Charlet" userId="5130afce-2030-434f-ad8a-0a98c5ab6b26" providerId="ADAL" clId="{9D56C62F-12F5-4183-B6B4-9585C4031DA1}" dt="2025-05-08T11:46:26.262" v="20" actId="404"/>
          <ac:spMkLst>
            <pc:docMk/>
            <pc:sldMk cId="1476669966" sldId="277"/>
            <ac:spMk id="26" creationId="{05610726-89AC-B71C-33E1-E59AD7387ADE}"/>
          </ac:spMkLst>
        </pc:spChg>
        <pc:spChg chg="del">
          <ac:chgData name="Alvaro Charlet" userId="5130afce-2030-434f-ad8a-0a98c5ab6b26" providerId="ADAL" clId="{9D56C62F-12F5-4183-B6B4-9585C4031DA1}" dt="2025-05-08T12:10:02.842" v="71" actId="21"/>
          <ac:spMkLst>
            <pc:docMk/>
            <pc:sldMk cId="1476669966" sldId="277"/>
            <ac:spMk id="27" creationId="{D15F5F69-7BB4-09B3-1063-FE0D61394383}"/>
          </ac:spMkLst>
        </pc:spChg>
        <pc:spChg chg="mod">
          <ac:chgData name="Alvaro Charlet" userId="5130afce-2030-434f-ad8a-0a98c5ab6b26" providerId="ADAL" clId="{9D56C62F-12F5-4183-B6B4-9585C4031DA1}" dt="2025-05-08T11:46:16.716" v="19" actId="404"/>
          <ac:spMkLst>
            <pc:docMk/>
            <pc:sldMk cId="1476669966" sldId="277"/>
            <ac:spMk id="32" creationId="{CC14A538-095A-9CDE-90C8-49A0F7F806BF}"/>
          </ac:spMkLst>
        </pc:spChg>
        <pc:spChg chg="mod">
          <ac:chgData name="Alvaro Charlet" userId="5130afce-2030-434f-ad8a-0a98c5ab6b26" providerId="ADAL" clId="{9D56C62F-12F5-4183-B6B4-9585C4031DA1}" dt="2025-05-08T11:46:43.187" v="25" actId="255"/>
          <ac:spMkLst>
            <pc:docMk/>
            <pc:sldMk cId="1476669966" sldId="277"/>
            <ac:spMk id="33" creationId="{EEC262D8-CBA9-A918-1ADD-A0889B974E1C}"/>
          </ac:spMkLst>
        </pc:spChg>
        <pc:spChg chg="mod">
          <ac:chgData name="Alvaro Charlet" userId="5130afce-2030-434f-ad8a-0a98c5ab6b26" providerId="ADAL" clId="{9D56C62F-12F5-4183-B6B4-9585C4031DA1}" dt="2025-05-08T11:46:48.170" v="27" actId="403"/>
          <ac:spMkLst>
            <pc:docMk/>
            <pc:sldMk cId="1476669966" sldId="277"/>
            <ac:spMk id="34" creationId="{7B4A4A63-245D-B702-94C9-C80232637079}"/>
          </ac:spMkLst>
        </pc:spChg>
        <pc:picChg chg="add del mod">
          <ac:chgData name="Alvaro Charlet" userId="5130afce-2030-434f-ad8a-0a98c5ab6b26" providerId="ADAL" clId="{9D56C62F-12F5-4183-B6B4-9585C4031DA1}" dt="2025-05-08T12:39:20.881" v="570"/>
          <ac:picMkLst>
            <pc:docMk/>
            <pc:sldMk cId="1476669966" sldId="277"/>
            <ac:picMk id="38" creationId="{808BCFF1-6065-448B-F040-0BEA7F33428E}"/>
          </ac:picMkLst>
        </pc:picChg>
        <pc:picChg chg="add del mod">
          <ac:chgData name="Alvaro Charlet" userId="5130afce-2030-434f-ad8a-0a98c5ab6b26" providerId="ADAL" clId="{9D56C62F-12F5-4183-B6B4-9585C4031DA1}" dt="2025-05-08T12:46:48.291" v="732"/>
          <ac:picMkLst>
            <pc:docMk/>
            <pc:sldMk cId="1476669966" sldId="277"/>
            <ac:picMk id="42" creationId="{E42D5AED-CED8-D3DB-C93E-E29CB49CB903}"/>
          </ac:picMkLst>
        </pc:picChg>
        <pc:picChg chg="add del mod">
          <ac:chgData name="Alvaro Charlet" userId="5130afce-2030-434f-ad8a-0a98c5ab6b26" providerId="ADAL" clId="{9D56C62F-12F5-4183-B6B4-9585C4031DA1}" dt="2025-05-08T12:50:22.172" v="738"/>
          <ac:picMkLst>
            <pc:docMk/>
            <pc:sldMk cId="1476669966" sldId="277"/>
            <ac:picMk id="45" creationId="{042F670D-7D6E-1556-2970-A0A394F58E43}"/>
          </ac:picMkLst>
        </pc:picChg>
        <pc:picChg chg="add del mod ord">
          <ac:chgData name="Alvaro Charlet" userId="5130afce-2030-434f-ad8a-0a98c5ab6b26" providerId="ADAL" clId="{9D56C62F-12F5-4183-B6B4-9585C4031DA1}" dt="2025-05-08T12:53:13.786" v="739"/>
          <ac:picMkLst>
            <pc:docMk/>
            <pc:sldMk cId="1476669966" sldId="277"/>
            <ac:picMk id="47" creationId="{DEF3ADC7-0439-1FD0-68D4-41E7CA6DB217}"/>
          </ac:picMkLst>
        </pc:picChg>
        <pc:picChg chg="add mod">
          <ac:chgData name="Alvaro Charlet" userId="5130afce-2030-434f-ad8a-0a98c5ab6b26" providerId="ADAL" clId="{9D56C62F-12F5-4183-B6B4-9585C4031DA1}" dt="2025-05-08T12:53:13.786" v="739"/>
          <ac:picMkLst>
            <pc:docMk/>
            <pc:sldMk cId="1476669966" sldId="277"/>
            <ac:picMk id="48" creationId="{25B0BF1B-9B10-6191-4649-A146DF876742}"/>
          </ac:picMkLst>
        </pc:picChg>
      </pc:sldChg>
      <pc:sldChg chg="addSp delSp modSp mod modTransition modAnim modNotesTx">
        <pc:chgData name="Alvaro Charlet" userId="5130afce-2030-434f-ad8a-0a98c5ab6b26" providerId="ADAL" clId="{9D56C62F-12F5-4183-B6B4-9585C4031DA1}" dt="2025-05-08T12:53:13.786" v="739"/>
        <pc:sldMkLst>
          <pc:docMk/>
          <pc:sldMk cId="2230332470" sldId="278"/>
        </pc:sldMkLst>
        <pc:spChg chg="mod">
          <ac:chgData name="Alvaro Charlet" userId="5130afce-2030-434f-ad8a-0a98c5ab6b26" providerId="ADAL" clId="{9D56C62F-12F5-4183-B6B4-9585C4031DA1}" dt="2025-05-08T12:45:43.784" v="730" actId="1035"/>
          <ac:spMkLst>
            <pc:docMk/>
            <pc:sldMk cId="2230332470" sldId="278"/>
            <ac:spMk id="9" creationId="{0A891C99-E68E-B25F-4510-71A869C8F92D}"/>
          </ac:spMkLst>
        </pc:spChg>
        <pc:spChg chg="mod">
          <ac:chgData name="Alvaro Charlet" userId="5130afce-2030-434f-ad8a-0a98c5ab6b26" providerId="ADAL" clId="{9D56C62F-12F5-4183-B6B4-9585C4031DA1}" dt="2025-05-08T12:40:19.928" v="654" actId="14100"/>
          <ac:spMkLst>
            <pc:docMk/>
            <pc:sldMk cId="2230332470" sldId="278"/>
            <ac:spMk id="11" creationId="{A190D4F4-0E30-77CD-CF4F-C0444B6C72CE}"/>
          </ac:spMkLst>
        </pc:spChg>
        <pc:spChg chg="mod">
          <ac:chgData name="Alvaro Charlet" userId="5130afce-2030-434f-ad8a-0a98c5ab6b26" providerId="ADAL" clId="{9D56C62F-12F5-4183-B6B4-9585C4031DA1}" dt="2025-05-08T12:45:43.784" v="730" actId="1035"/>
          <ac:spMkLst>
            <pc:docMk/>
            <pc:sldMk cId="2230332470" sldId="278"/>
            <ac:spMk id="14" creationId="{F986F197-0041-3701-5D3A-7ED0C53497A6}"/>
          </ac:spMkLst>
        </pc:spChg>
        <pc:spChg chg="del">
          <ac:chgData name="Alvaro Charlet" userId="5130afce-2030-434f-ad8a-0a98c5ab6b26" providerId="ADAL" clId="{9D56C62F-12F5-4183-B6B4-9585C4031DA1}" dt="2025-05-08T12:10:05.952" v="72" actId="21"/>
          <ac:spMkLst>
            <pc:docMk/>
            <pc:sldMk cId="2230332470" sldId="278"/>
            <ac:spMk id="15" creationId="{D31FE2F9-50F2-194F-C490-3BDE5BE59F90}"/>
          </ac:spMkLst>
        </pc:spChg>
        <pc:picChg chg="add del mod">
          <ac:chgData name="Alvaro Charlet" userId="5130afce-2030-434f-ad8a-0a98c5ab6b26" providerId="ADAL" clId="{9D56C62F-12F5-4183-B6B4-9585C4031DA1}" dt="2025-05-08T12:38:01.604" v="568"/>
          <ac:picMkLst>
            <pc:docMk/>
            <pc:sldMk cId="2230332470" sldId="278"/>
            <ac:picMk id="17" creationId="{1F731162-F049-216E-40D0-F291816FE6CE}"/>
          </ac:picMkLst>
        </pc:picChg>
        <pc:picChg chg="add del mod ord">
          <ac:chgData name="Alvaro Charlet" userId="5130afce-2030-434f-ad8a-0a98c5ab6b26" providerId="ADAL" clId="{9D56C62F-12F5-4183-B6B4-9585C4031DA1}" dt="2025-05-08T12:39:03.351" v="569"/>
          <ac:picMkLst>
            <pc:docMk/>
            <pc:sldMk cId="2230332470" sldId="278"/>
            <ac:picMk id="19" creationId="{84F283BF-E750-92F0-4C28-16879DFB7424}"/>
          </ac:picMkLst>
        </pc:picChg>
        <pc:picChg chg="add del mod">
          <ac:chgData name="Alvaro Charlet" userId="5130afce-2030-434f-ad8a-0a98c5ab6b26" providerId="ADAL" clId="{9D56C62F-12F5-4183-B6B4-9585C4031DA1}" dt="2025-05-08T12:39:20.881" v="570"/>
          <ac:picMkLst>
            <pc:docMk/>
            <pc:sldMk cId="2230332470" sldId="278"/>
            <ac:picMk id="20" creationId="{5C682065-96B5-6180-0116-12A32873AF49}"/>
          </ac:picMkLst>
        </pc:picChg>
        <pc:picChg chg="add del mod">
          <ac:chgData name="Alvaro Charlet" userId="5130afce-2030-434f-ad8a-0a98c5ab6b26" providerId="ADAL" clId="{9D56C62F-12F5-4183-B6B4-9585C4031DA1}" dt="2025-05-08T12:46:48.291" v="732"/>
          <ac:picMkLst>
            <pc:docMk/>
            <pc:sldMk cId="2230332470" sldId="278"/>
            <ac:picMk id="24" creationId="{5FB74433-77A4-659F-6554-F6CEFF8634A1}"/>
          </ac:picMkLst>
        </pc:picChg>
        <pc:picChg chg="add del mod">
          <ac:chgData name="Alvaro Charlet" userId="5130afce-2030-434f-ad8a-0a98c5ab6b26" providerId="ADAL" clId="{9D56C62F-12F5-4183-B6B4-9585C4031DA1}" dt="2025-05-08T12:50:22.172" v="738"/>
          <ac:picMkLst>
            <pc:docMk/>
            <pc:sldMk cId="2230332470" sldId="278"/>
            <ac:picMk id="28" creationId="{78D9C526-D5D6-29D7-7482-9DA0052BC27C}"/>
          </ac:picMkLst>
        </pc:picChg>
        <pc:picChg chg="add del mod ord">
          <ac:chgData name="Alvaro Charlet" userId="5130afce-2030-434f-ad8a-0a98c5ab6b26" providerId="ADAL" clId="{9D56C62F-12F5-4183-B6B4-9585C4031DA1}" dt="2025-05-08T12:53:13.786" v="739"/>
          <ac:picMkLst>
            <pc:docMk/>
            <pc:sldMk cId="2230332470" sldId="278"/>
            <ac:picMk id="31" creationId="{0418FB9D-CF8E-D38E-05D4-6268346ED514}"/>
          </ac:picMkLst>
        </pc:picChg>
        <pc:picChg chg="add mod">
          <ac:chgData name="Alvaro Charlet" userId="5130afce-2030-434f-ad8a-0a98c5ab6b26" providerId="ADAL" clId="{9D56C62F-12F5-4183-B6B4-9585C4031DA1}" dt="2025-05-08T12:53:13.786" v="739"/>
          <ac:picMkLst>
            <pc:docMk/>
            <pc:sldMk cId="2230332470" sldId="278"/>
            <ac:picMk id="32" creationId="{56A9C782-475B-FE2C-BB85-226ECCF37BB7}"/>
          </ac:picMkLst>
        </pc:picChg>
      </pc:sldChg>
      <pc:sldChg chg="addSp delSp modSp mod ord modTransition modAnim modNotesTx">
        <pc:chgData name="Alvaro Charlet" userId="5130afce-2030-434f-ad8a-0a98c5ab6b26" providerId="ADAL" clId="{9D56C62F-12F5-4183-B6B4-9585C4031DA1}" dt="2025-05-08T12:53:13.786" v="739"/>
        <pc:sldMkLst>
          <pc:docMk/>
          <pc:sldMk cId="3912573013" sldId="279"/>
        </pc:sldMkLst>
        <pc:spChg chg="del">
          <ac:chgData name="Alvaro Charlet" userId="5130afce-2030-434f-ad8a-0a98c5ab6b26" providerId="ADAL" clId="{9D56C62F-12F5-4183-B6B4-9585C4031DA1}" dt="2025-05-08T12:10:10.387" v="74" actId="478"/>
          <ac:spMkLst>
            <pc:docMk/>
            <pc:sldMk cId="3912573013" sldId="279"/>
            <ac:spMk id="35" creationId="{517E24B2-B3B2-BA4E-1FA0-41C354373102}"/>
          </ac:spMkLst>
        </pc:spChg>
        <pc:spChg chg="mod">
          <ac:chgData name="Alvaro Charlet" userId="5130afce-2030-434f-ad8a-0a98c5ab6b26" providerId="ADAL" clId="{9D56C62F-12F5-4183-B6B4-9585C4031DA1}" dt="2025-05-08T12:27:52.438" v="255" actId="20577"/>
          <ac:spMkLst>
            <pc:docMk/>
            <pc:sldMk cId="3912573013" sldId="279"/>
            <ac:spMk id="40" creationId="{B433F665-56F1-36CA-09BD-A58746ED2730}"/>
          </ac:spMkLst>
        </pc:spChg>
        <pc:grpChg chg="mod">
          <ac:chgData name="Alvaro Charlet" userId="5130afce-2030-434f-ad8a-0a98c5ab6b26" providerId="ADAL" clId="{9D56C62F-12F5-4183-B6B4-9585C4031DA1}" dt="2025-05-08T12:45:31.820" v="716" actId="1076"/>
          <ac:grpSpMkLst>
            <pc:docMk/>
            <pc:sldMk cId="3912573013" sldId="279"/>
            <ac:grpSpMk id="13" creationId="{D07A02A8-4D0A-78FB-CAC0-C61902114227}"/>
          </ac:grpSpMkLst>
        </pc:grpChg>
        <pc:grpChg chg="mod">
          <ac:chgData name="Alvaro Charlet" userId="5130afce-2030-434f-ad8a-0a98c5ab6b26" providerId="ADAL" clId="{9D56C62F-12F5-4183-B6B4-9585C4031DA1}" dt="2025-05-08T12:44:50.308" v="705" actId="1076"/>
          <ac:grpSpMkLst>
            <pc:docMk/>
            <pc:sldMk cId="3912573013" sldId="279"/>
            <ac:grpSpMk id="20" creationId="{C8A3EAE6-CC03-6B79-1008-ED6CFE3CE03D}"/>
          </ac:grpSpMkLst>
        </pc:grpChg>
        <pc:grpChg chg="mod">
          <ac:chgData name="Alvaro Charlet" userId="5130afce-2030-434f-ad8a-0a98c5ab6b26" providerId="ADAL" clId="{9D56C62F-12F5-4183-B6B4-9585C4031DA1}" dt="2025-05-08T12:45:06.999" v="710" actId="1076"/>
          <ac:grpSpMkLst>
            <pc:docMk/>
            <pc:sldMk cId="3912573013" sldId="279"/>
            <ac:grpSpMk id="23" creationId="{297BE5E9-E533-5F0C-8D8D-C576FAB8D288}"/>
          </ac:grpSpMkLst>
        </pc:grpChg>
        <pc:grpChg chg="mod">
          <ac:chgData name="Alvaro Charlet" userId="5130afce-2030-434f-ad8a-0a98c5ab6b26" providerId="ADAL" clId="{9D56C62F-12F5-4183-B6B4-9585C4031DA1}" dt="2025-05-08T12:44:52.581" v="706" actId="1076"/>
          <ac:grpSpMkLst>
            <pc:docMk/>
            <pc:sldMk cId="3912573013" sldId="279"/>
            <ac:grpSpMk id="32" creationId="{37DD4A6D-82FA-4CDF-0F65-71F7FC25D071}"/>
          </ac:grpSpMkLst>
        </pc:grpChg>
        <pc:grpChg chg="add mod">
          <ac:chgData name="Alvaro Charlet" userId="5130afce-2030-434f-ad8a-0a98c5ab6b26" providerId="ADAL" clId="{9D56C62F-12F5-4183-B6B4-9585C4031DA1}" dt="2025-05-08T12:45:21.869" v="714" actId="1076"/>
          <ac:grpSpMkLst>
            <pc:docMk/>
            <pc:sldMk cId="3912573013" sldId="279"/>
            <ac:grpSpMk id="39" creationId="{D922D160-2FD0-15F4-7542-A50EF7A1B58F}"/>
          </ac:grpSpMkLst>
        </pc:grpChg>
        <pc:picChg chg="mod">
          <ac:chgData name="Alvaro Charlet" userId="5130afce-2030-434f-ad8a-0a98c5ab6b26" providerId="ADAL" clId="{9D56C62F-12F5-4183-B6B4-9585C4031DA1}" dt="2025-05-08T12:26:40.841" v="86" actId="1076"/>
          <ac:picMkLst>
            <pc:docMk/>
            <pc:sldMk cId="3912573013" sldId="279"/>
            <ac:picMk id="2" creationId="{CC0C0C34-9FF1-8B54-9314-4C00E974E5BF}"/>
          </ac:picMkLst>
        </pc:picChg>
        <pc:picChg chg="add del mod">
          <ac:chgData name="Alvaro Charlet" userId="5130afce-2030-434f-ad8a-0a98c5ab6b26" providerId="ADAL" clId="{9D56C62F-12F5-4183-B6B4-9585C4031DA1}" dt="2025-05-08T12:39:20.881" v="570"/>
          <ac:picMkLst>
            <pc:docMk/>
            <pc:sldMk cId="3912573013" sldId="279"/>
            <ac:picMk id="44" creationId="{ACF91817-2D61-4ECB-36BF-DE14D4B7B411}"/>
          </ac:picMkLst>
        </pc:picChg>
        <pc:picChg chg="add del mod">
          <ac:chgData name="Alvaro Charlet" userId="5130afce-2030-434f-ad8a-0a98c5ab6b26" providerId="ADAL" clId="{9D56C62F-12F5-4183-B6B4-9585C4031DA1}" dt="2025-05-08T12:46:48.291" v="732"/>
          <ac:picMkLst>
            <pc:docMk/>
            <pc:sldMk cId="3912573013" sldId="279"/>
            <ac:picMk id="46" creationId="{33D78E90-3679-021E-B1AA-E092E8DE7A9F}"/>
          </ac:picMkLst>
        </pc:picChg>
        <pc:picChg chg="add del mod">
          <ac:chgData name="Alvaro Charlet" userId="5130afce-2030-434f-ad8a-0a98c5ab6b26" providerId="ADAL" clId="{9D56C62F-12F5-4183-B6B4-9585C4031DA1}" dt="2025-05-08T12:50:22.172" v="738"/>
          <ac:picMkLst>
            <pc:docMk/>
            <pc:sldMk cId="3912573013" sldId="279"/>
            <ac:picMk id="55" creationId="{6294CE54-CA42-7986-6A89-5C6566E0A93F}"/>
          </ac:picMkLst>
        </pc:picChg>
        <pc:picChg chg="add del mod ord">
          <ac:chgData name="Alvaro Charlet" userId="5130afce-2030-434f-ad8a-0a98c5ab6b26" providerId="ADAL" clId="{9D56C62F-12F5-4183-B6B4-9585C4031DA1}" dt="2025-05-08T12:53:13.786" v="739"/>
          <ac:picMkLst>
            <pc:docMk/>
            <pc:sldMk cId="3912573013" sldId="279"/>
            <ac:picMk id="56" creationId="{10D3F99F-EBDD-5A83-4145-12FF8959A626}"/>
          </ac:picMkLst>
        </pc:picChg>
        <pc:picChg chg="add mod">
          <ac:chgData name="Alvaro Charlet" userId="5130afce-2030-434f-ad8a-0a98c5ab6b26" providerId="ADAL" clId="{9D56C62F-12F5-4183-B6B4-9585C4031DA1}" dt="2025-05-08T12:53:13.786" v="739"/>
          <ac:picMkLst>
            <pc:docMk/>
            <pc:sldMk cId="3912573013" sldId="279"/>
            <ac:picMk id="57" creationId="{15526031-B807-A012-297E-30A69D74D49A}"/>
          </ac:picMkLst>
        </pc:picChg>
        <pc:cxnChg chg="mod">
          <ac:chgData name="Alvaro Charlet" userId="5130afce-2030-434f-ad8a-0a98c5ab6b26" providerId="ADAL" clId="{9D56C62F-12F5-4183-B6B4-9585C4031DA1}" dt="2025-05-08T12:45:35.239" v="717" actId="14100"/>
          <ac:cxnSpMkLst>
            <pc:docMk/>
            <pc:sldMk cId="3912573013" sldId="279"/>
            <ac:cxnSpMk id="16" creationId="{F6FF103B-3C4B-3446-5C37-BE532CE9B0EE}"/>
          </ac:cxnSpMkLst>
        </pc:cxnChg>
        <pc:cxnChg chg="mod">
          <ac:chgData name="Alvaro Charlet" userId="5130afce-2030-434f-ad8a-0a98c5ab6b26" providerId="ADAL" clId="{9D56C62F-12F5-4183-B6B4-9585C4031DA1}" dt="2025-05-08T12:45:16.024" v="713" actId="14100"/>
          <ac:cxnSpMkLst>
            <pc:docMk/>
            <pc:sldMk cId="3912573013" sldId="279"/>
            <ac:cxnSpMk id="22" creationId="{B02B23EC-17D7-DE9C-63EC-A17434C450F3}"/>
          </ac:cxnSpMkLst>
        </pc:cxnChg>
        <pc:cxnChg chg="mod">
          <ac:chgData name="Alvaro Charlet" userId="5130afce-2030-434f-ad8a-0a98c5ab6b26" providerId="ADAL" clId="{9D56C62F-12F5-4183-B6B4-9585C4031DA1}" dt="2025-05-08T12:45:12.766" v="712" actId="14100"/>
          <ac:cxnSpMkLst>
            <pc:docMk/>
            <pc:sldMk cId="3912573013" sldId="279"/>
            <ac:cxnSpMk id="25" creationId="{C5E0911E-D843-00A5-0ABA-64C00F3097CD}"/>
          </ac:cxnSpMkLst>
        </pc:cxnChg>
        <pc:cxnChg chg="mod">
          <ac:chgData name="Alvaro Charlet" userId="5130afce-2030-434f-ad8a-0a98c5ab6b26" providerId="ADAL" clId="{9D56C62F-12F5-4183-B6B4-9585C4031DA1}" dt="2025-05-08T12:44:55.669" v="707" actId="14100"/>
          <ac:cxnSpMkLst>
            <pc:docMk/>
            <pc:sldMk cId="3912573013" sldId="279"/>
            <ac:cxnSpMk id="34" creationId="{5DF4A2F6-5018-47B8-7E8E-A7BFD42B08C0}"/>
          </ac:cxnSpMkLst>
        </pc:cxnChg>
        <pc:cxnChg chg="mod">
          <ac:chgData name="Alvaro Charlet" userId="5130afce-2030-434f-ad8a-0a98c5ab6b26" providerId="ADAL" clId="{9D56C62F-12F5-4183-B6B4-9585C4031DA1}" dt="2025-05-08T12:45:27.619" v="715" actId="14100"/>
          <ac:cxnSpMkLst>
            <pc:docMk/>
            <pc:sldMk cId="3912573013" sldId="279"/>
            <ac:cxnSpMk id="41" creationId="{95F04C74-596C-40B3-9DD4-6919D7F40BFE}"/>
          </ac:cxnSpMkLst>
        </pc:cxnChg>
      </pc:sldChg>
      <pc:sldChg chg="addSp modSp new del mod modTransition modShow">
        <pc:chgData name="Alvaro Charlet" userId="5130afce-2030-434f-ad8a-0a98c5ab6b26" providerId="ADAL" clId="{9D56C62F-12F5-4183-B6B4-9585C4031DA1}" dt="2025-05-08T13:34:19.613" v="746" actId="47"/>
        <pc:sldMkLst>
          <pc:docMk/>
          <pc:sldMk cId="2491904737" sldId="280"/>
        </pc:sldMkLst>
        <pc:spChg chg="add mod">
          <ac:chgData name="Alvaro Charlet" userId="5130afce-2030-434f-ad8a-0a98c5ab6b26" providerId="ADAL" clId="{9D56C62F-12F5-4183-B6B4-9585C4031DA1}" dt="2025-05-08T12:09:59.699" v="70"/>
          <ac:spMkLst>
            <pc:docMk/>
            <pc:sldMk cId="2491904737" sldId="280"/>
            <ac:spMk id="14" creationId="{0E8B7966-F6BC-40A3-9CDC-48E143A4C3BF}"/>
          </ac:spMkLst>
        </pc:spChg>
        <pc:spChg chg="add mod">
          <ac:chgData name="Alvaro Charlet" userId="5130afce-2030-434f-ad8a-0a98c5ab6b26" providerId="ADAL" clId="{9D56C62F-12F5-4183-B6B4-9585C4031DA1}" dt="2025-05-08T12:10:07.071" v="73"/>
          <ac:spMkLst>
            <pc:docMk/>
            <pc:sldMk cId="2491904737" sldId="280"/>
            <ac:spMk id="15" creationId="{D31FE2F9-50F2-194F-C490-3BDE5BE59F9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5/8/2025</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08.05.2025</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We are pleased to announce Sensirion’s latest A2L refrigerant detection system, the SGD43S-M3-Sx.</a:t>
            </a:r>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1866698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dirty="0"/>
              <a:t>Introducing the SGD43S - Introducing SGD43S – a cutting-edge refrigerant detection system for modern HVACR systems. Engineered for accurate and reliable identification of A2L refrigerant leaks, it enhances safety and compliance with emerging regulations. </a:t>
            </a:r>
          </a:p>
          <a:p>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3279917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product features a gas</a:t>
            </a:r>
          </a:p>
        </p:txBody>
      </p:sp>
      <p:sp>
        <p:nvSpPr>
          <p:cNvPr id="4" name="Slide Number Placeholder 3"/>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632560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SGD43S comes into two variants, tailored for your application</a:t>
            </a:r>
          </a:p>
          <a:p>
            <a:r>
              <a:rPr lang="en-US" dirty="0"/>
              <a:t>We at Sensirion, look forward to finding opportunities for the SGD43S with our channel partners </a:t>
            </a:r>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560651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video" Target="../media/media1.mp4"/><Relationship Id="rId7" Type="http://schemas.openxmlformats.org/officeDocument/2006/relationships/oleObject" Target="../embeddings/oleObject20.bin"/><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 descr="Ein Bild, das Luftfotografie, draußen, Himmel, Wasser enthält.&#10;&#10;Automatisch generierte Beschreibung">
            <a:extLst>
              <a:ext uri="{FF2B5EF4-FFF2-40B4-BE49-F238E27FC236}">
                <a16:creationId xmlns:a16="http://schemas.microsoft.com/office/drawing/2014/main" id="{FB910CAC-8282-4BAE-D5AF-B5089B93C40A}"/>
              </a:ext>
            </a:extLst>
          </p:cNvPr>
          <p:cNvPicPr>
            <a:picLocks noGrp="1" noChangeAspect="1"/>
          </p:cNvPicPr>
          <p:nvPr>
            <p:ph type="pic" sz="quarter" idx="11"/>
          </p:nvPr>
        </p:nvPicPr>
        <p:blipFill rotWithShape="1">
          <a:blip r:embed="rId6" cstate="screen">
            <a:extLst>
              <a:ext uri="{28A0092B-C50C-407E-A947-70E740481C1C}">
                <a14:useLocalDpi xmlns:a14="http://schemas.microsoft.com/office/drawing/2010/main"/>
              </a:ext>
            </a:extLst>
          </a:blip>
          <a:srcRect t="14" b="14"/>
          <a:stretch/>
        </p:blipFill>
        <p:spPr>
          <a:xfrm>
            <a:off x="0" y="0"/>
            <a:ext cx="12192000" cy="6858000"/>
          </a:xfrm>
        </p:spPr>
      </p:pic>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extLst>
              <p:ext uri="{D42A27DB-BD31-4B8C-83A1-F6EECF244321}">
                <p14:modId xmlns:p14="http://schemas.microsoft.com/office/powerpoint/2010/main" val="248225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80" imgH="481" progId="TCLayout.ActiveDocument.1">
                  <p:embed/>
                </p:oleObj>
              </mc:Choice>
              <mc:Fallback>
                <p:oleObj name="think-cell Folie" r:id="rId7"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p:txBody>
          <a:bodyPr vert="horz"/>
          <a:lstStyle/>
          <a:p>
            <a:r>
              <a:rPr lang="en-US" dirty="0"/>
              <a:t>SGD43S-M3-Sx</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6" y="1703623"/>
            <a:ext cx="9144000" cy="615553"/>
          </a:xfrm>
        </p:spPr>
        <p:txBody>
          <a:bodyPr/>
          <a:lstStyle/>
          <a:p>
            <a:r>
              <a:rPr lang="en-US" dirty="0"/>
              <a:t>A2L Refrigerant Detection System</a:t>
            </a:r>
          </a:p>
        </p:txBody>
      </p:sp>
      <p:pic>
        <p:nvPicPr>
          <p:cNvPr id="44" name="Video 43">
            <a:hlinkClick r:id="" action="ppaction://media"/>
            <a:extLst>
              <a:ext uri="{FF2B5EF4-FFF2-40B4-BE49-F238E27FC236}">
                <a16:creationId xmlns:a16="http://schemas.microsoft.com/office/drawing/2014/main" id="{FFF26137-ABF4-EC25-4752-6BDEEE135B64}"/>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9"/>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21050036"/>
      </p:ext>
    </p:extLst>
  </p:cSld>
  <p:clrMapOvr>
    <a:masterClrMapping/>
  </p:clrMapOvr>
  <mc:AlternateContent xmlns:mc="http://schemas.openxmlformats.org/markup-compatibility/2006">
    <mc:Choice xmlns:p14="http://schemas.microsoft.com/office/powerpoint/2010/main" Requires="p14">
      <p:transition spd="slow" p14:dur="2000" advTm="12057"/>
    </mc:Choice>
    <mc:Fallback>
      <p:transition spd="slow" advTm="1205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4"/>
                </p:tgtEl>
              </p:cMediaNode>
            </p:video>
            <p:seq concurrent="1" nextAc="seek">
              <p:cTn id="8" restart="whenNotActive" fill="hold" evtFilter="cancelBubble" nodeType="interactiveSeq">
                <p:stCondLst>
                  <p:cond evt="onClick" delay="0">
                    <p:tgtEl>
                      <p:spTgt spid="4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4"/>
                                        </p:tgtEl>
                                      </p:cBhvr>
                                    </p:cmd>
                                  </p:childTnLst>
                                </p:cTn>
                              </p:par>
                            </p:childTnLst>
                          </p:cTn>
                        </p:par>
                      </p:childTnLst>
                    </p:cTn>
                  </p:par>
                </p:childTnLst>
              </p:cTn>
              <p:nextCondLst>
                <p:cond evt="onClick" delay="0">
                  <p:tgtEl>
                    <p:spTgt spid="4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BB23BDB-8001-F20B-A803-EBD6CBA55F20}"/>
              </a:ext>
            </a:extLst>
          </p:cNvPr>
          <p:cNvSpPr>
            <a:spLocks noGrp="1"/>
          </p:cNvSpPr>
          <p:nvPr>
            <p:ph type="ftr" sz="quarter" idx="12"/>
          </p:nvPr>
        </p:nvSpPr>
        <p:spPr/>
        <p:txBody>
          <a:bodyPr/>
          <a:lstStyle/>
          <a:p>
            <a:r>
              <a:rPr lang="de-DE"/>
              <a:t>© Copyright Sensirion, Switzerland</a:t>
            </a:r>
            <a:endParaRPr lang="de-DE" dirty="0"/>
          </a:p>
        </p:txBody>
      </p:sp>
      <p:sp>
        <p:nvSpPr>
          <p:cNvPr id="3" name="Slide Number Placeholder 2">
            <a:extLst>
              <a:ext uri="{FF2B5EF4-FFF2-40B4-BE49-F238E27FC236}">
                <a16:creationId xmlns:a16="http://schemas.microsoft.com/office/drawing/2014/main" id="{3318A98A-773F-4A5C-3E28-3409625A0B9C}"/>
              </a:ext>
            </a:extLst>
          </p:cNvPr>
          <p:cNvSpPr>
            <a:spLocks noGrp="1"/>
          </p:cNvSpPr>
          <p:nvPr>
            <p:ph type="sldNum" sz="quarter" idx="13"/>
          </p:nvPr>
        </p:nvSpPr>
        <p:spPr/>
        <p:txBody>
          <a:bodyPr/>
          <a:lstStyle/>
          <a:p>
            <a:fld id="{B1E691A1-F3A6-4574-B226-B412272B38A6}" type="slidenum">
              <a:rPr lang="de-DE" smtClean="0"/>
              <a:pPr/>
              <a:t>2</a:t>
            </a:fld>
            <a:endParaRPr lang="de-DE"/>
          </a:p>
        </p:txBody>
      </p:sp>
      <p:sp>
        <p:nvSpPr>
          <p:cNvPr id="20" name="Title 16">
            <a:extLst>
              <a:ext uri="{FF2B5EF4-FFF2-40B4-BE49-F238E27FC236}">
                <a16:creationId xmlns:a16="http://schemas.microsoft.com/office/drawing/2014/main" id="{EF9AC714-7FF4-833F-0214-6953CD37B7C4}"/>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GD43S-M3-Sx</a:t>
            </a:r>
          </a:p>
        </p:txBody>
      </p:sp>
      <p:sp>
        <p:nvSpPr>
          <p:cNvPr id="24" name="Text Placeholder 21">
            <a:extLst>
              <a:ext uri="{FF2B5EF4-FFF2-40B4-BE49-F238E27FC236}">
                <a16:creationId xmlns:a16="http://schemas.microsoft.com/office/drawing/2014/main" id="{8067B539-6BCF-ED79-75C2-86D232BD4FD6}"/>
              </a:ext>
            </a:extLst>
          </p:cNvPr>
          <p:cNvSpPr txBox="1">
            <a:spLocks/>
          </p:cNvSpPr>
          <p:nvPr/>
        </p:nvSpPr>
        <p:spPr>
          <a:xfrm>
            <a:off x="515937" y="2351940"/>
            <a:ext cx="5694208" cy="1077059"/>
          </a:xfrm>
          <a:prstGeom prst="rect">
            <a:avLst/>
          </a:prstGeom>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dirty="0"/>
              <a:t>Introducing SGD43S – a cutting-edge refrigerant detection system for modern HVACR systems. Engineered for accurate and reliable identification of A2L refrigerant leaks, it enhances safety and compliance with emerging regulations. </a:t>
            </a:r>
          </a:p>
        </p:txBody>
      </p:sp>
      <p:sp>
        <p:nvSpPr>
          <p:cNvPr id="25" name="Text Placeholder 20">
            <a:extLst>
              <a:ext uri="{FF2B5EF4-FFF2-40B4-BE49-F238E27FC236}">
                <a16:creationId xmlns:a16="http://schemas.microsoft.com/office/drawing/2014/main" id="{F120BAC9-7389-70A2-1CFB-277022E19793}"/>
              </a:ext>
            </a:extLst>
          </p:cNvPr>
          <p:cNvSpPr txBox="1">
            <a:spLocks/>
          </p:cNvSpPr>
          <p:nvPr/>
        </p:nvSpPr>
        <p:spPr>
          <a:xfrm>
            <a:off x="515937" y="845582"/>
            <a:ext cx="8113157"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A2L Refrigerant Detection System</a:t>
            </a:r>
          </a:p>
        </p:txBody>
      </p:sp>
      <p:sp>
        <p:nvSpPr>
          <p:cNvPr id="26" name="Text Placeholder 18">
            <a:extLst>
              <a:ext uri="{FF2B5EF4-FFF2-40B4-BE49-F238E27FC236}">
                <a16:creationId xmlns:a16="http://schemas.microsoft.com/office/drawing/2014/main" id="{05610726-89AC-B71C-33E1-E59AD7387ADE}"/>
              </a:ext>
            </a:extLst>
          </p:cNvPr>
          <p:cNvSpPr txBox="1">
            <a:spLocks/>
          </p:cNvSpPr>
          <p:nvPr/>
        </p:nvSpPr>
        <p:spPr bwMode="gray">
          <a:xfrm>
            <a:off x="2405968" y="4775422"/>
            <a:ext cx="2837363" cy="865243"/>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3600" b="0" dirty="0">
                <a:latin typeface="Segoe UI Semibold" panose="020B0702040204020203" pitchFamily="34" charset="0"/>
                <a:cs typeface="Segoe UI Semibold" panose="020B0702040204020203" pitchFamily="34" charset="0"/>
              </a:rPr>
              <a:t>15</a:t>
            </a:r>
            <a:r>
              <a:rPr lang="en-US" sz="2200" dirty="0"/>
              <a:t> </a:t>
            </a:r>
            <a:r>
              <a:rPr lang="en-US" sz="2000" b="0" dirty="0"/>
              <a:t>years lifetime</a:t>
            </a:r>
            <a:endParaRPr lang="en-US" sz="2400" b="0" dirty="0">
              <a:cs typeface="Segoe UI"/>
            </a:endParaRPr>
          </a:p>
        </p:txBody>
      </p:sp>
      <p:pic>
        <p:nvPicPr>
          <p:cNvPr id="31" name="Picture 30" descr="A black electronic device with green lights&#10;&#10;AI-generated content may be incorrect.">
            <a:extLst>
              <a:ext uri="{FF2B5EF4-FFF2-40B4-BE49-F238E27FC236}">
                <a16:creationId xmlns:a16="http://schemas.microsoft.com/office/drawing/2014/main" id="{8F2FBCB2-7025-2529-0C95-5F6A5D838A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95317" y="991816"/>
            <a:ext cx="5694208" cy="3558880"/>
          </a:xfrm>
          <a:prstGeom prst="rect">
            <a:avLst/>
          </a:prstGeom>
        </p:spPr>
      </p:pic>
      <p:sp>
        <p:nvSpPr>
          <p:cNvPr id="32" name="Text Placeholder 18">
            <a:extLst>
              <a:ext uri="{FF2B5EF4-FFF2-40B4-BE49-F238E27FC236}">
                <a16:creationId xmlns:a16="http://schemas.microsoft.com/office/drawing/2014/main" id="{CC14A538-095A-9CDE-90C8-49A0F7F806BF}"/>
              </a:ext>
            </a:extLst>
          </p:cNvPr>
          <p:cNvSpPr txBox="1">
            <a:spLocks/>
          </p:cNvSpPr>
          <p:nvPr/>
        </p:nvSpPr>
        <p:spPr bwMode="gray">
          <a:xfrm>
            <a:off x="668265" y="3793222"/>
            <a:ext cx="1653616" cy="1847444"/>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3600" b="0" dirty="0">
                <a:latin typeface="Segoe UI Semibold" panose="020B0702040204020203" pitchFamily="34" charset="0"/>
                <a:cs typeface="Segoe UI Semibold" panose="020B0702040204020203" pitchFamily="34" charset="0"/>
              </a:rPr>
              <a:t>24</a:t>
            </a:r>
            <a:r>
              <a:rPr lang="en-US" sz="1600" b="0" dirty="0"/>
              <a:t> </a:t>
            </a:r>
            <a:r>
              <a:rPr lang="en-US" sz="2000" b="0" dirty="0"/>
              <a:t>V </a:t>
            </a:r>
          </a:p>
          <a:p>
            <a:r>
              <a:rPr lang="en-US" sz="2000" b="0" dirty="0"/>
              <a:t>AC/DC</a:t>
            </a:r>
          </a:p>
        </p:txBody>
      </p:sp>
      <p:sp>
        <p:nvSpPr>
          <p:cNvPr id="33" name="Text Placeholder 18">
            <a:extLst>
              <a:ext uri="{FF2B5EF4-FFF2-40B4-BE49-F238E27FC236}">
                <a16:creationId xmlns:a16="http://schemas.microsoft.com/office/drawing/2014/main" id="{EEC262D8-CBA9-A918-1ADD-A0889B974E1C}"/>
              </a:ext>
            </a:extLst>
          </p:cNvPr>
          <p:cNvSpPr txBox="1">
            <a:spLocks/>
          </p:cNvSpPr>
          <p:nvPr/>
        </p:nvSpPr>
        <p:spPr bwMode="gray">
          <a:xfrm>
            <a:off x="2405968" y="3793222"/>
            <a:ext cx="2837363" cy="865242"/>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ctr"/>
            <a:r>
              <a:rPr lang="en-US" sz="2000" b="0" dirty="0">
                <a:solidFill>
                  <a:schemeClr val="bg1"/>
                </a:solidFill>
              </a:rPr>
              <a:t>±</a:t>
            </a:r>
            <a:r>
              <a:rPr lang="en-US" sz="2000" dirty="0">
                <a:solidFill>
                  <a:schemeClr val="bg1"/>
                </a:solidFill>
              </a:rPr>
              <a:t> </a:t>
            </a:r>
            <a:r>
              <a:rPr lang="en-US" sz="3600" b="0" dirty="0">
                <a:latin typeface="Segoe UI Semibold" panose="020B0702040204020203" pitchFamily="34" charset="0"/>
                <a:cs typeface="Segoe UI Semibold" panose="020B0702040204020203" pitchFamily="34" charset="0"/>
              </a:rPr>
              <a:t>2.5</a:t>
            </a:r>
            <a:r>
              <a:rPr lang="en-US" sz="2000" dirty="0">
                <a:solidFill>
                  <a:schemeClr val="bg1"/>
                </a:solidFill>
              </a:rPr>
              <a:t> </a:t>
            </a:r>
            <a:r>
              <a:rPr lang="en-US" sz="2000" b="0" dirty="0">
                <a:solidFill>
                  <a:schemeClr val="bg1"/>
                </a:solidFill>
              </a:rPr>
              <a:t>% LFL </a:t>
            </a:r>
          </a:p>
          <a:p>
            <a:pPr algn="ctr"/>
            <a:r>
              <a:rPr lang="en-US" sz="2000" b="0" dirty="0">
                <a:solidFill>
                  <a:schemeClr val="bg1"/>
                </a:solidFill>
              </a:rPr>
              <a:t>accuracy</a:t>
            </a:r>
            <a:endParaRPr lang="en-US" sz="2000" b="0" dirty="0">
              <a:solidFill>
                <a:schemeClr val="bg1"/>
              </a:solidFill>
              <a:cs typeface="Segoe UI"/>
            </a:endParaRPr>
          </a:p>
        </p:txBody>
      </p:sp>
      <p:sp>
        <p:nvSpPr>
          <p:cNvPr id="34" name="Text Placeholder 18">
            <a:extLst>
              <a:ext uri="{FF2B5EF4-FFF2-40B4-BE49-F238E27FC236}">
                <a16:creationId xmlns:a16="http://schemas.microsoft.com/office/drawing/2014/main" id="{7B4A4A63-245D-B702-94C9-C80232637079}"/>
              </a:ext>
            </a:extLst>
          </p:cNvPr>
          <p:cNvSpPr txBox="1">
            <a:spLocks/>
          </p:cNvSpPr>
          <p:nvPr/>
        </p:nvSpPr>
        <p:spPr bwMode="gray">
          <a:xfrm>
            <a:off x="5327418" y="3793222"/>
            <a:ext cx="1653616" cy="1847444"/>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3600" b="0" dirty="0">
                <a:latin typeface="Segoe UI Semibold" panose="020B0702040204020203" pitchFamily="34" charset="0"/>
                <a:cs typeface="Segoe UI Semibold" panose="020B0702040204020203" pitchFamily="34" charset="0"/>
              </a:rPr>
              <a:t>UL</a:t>
            </a:r>
            <a:r>
              <a:rPr lang="en-US" sz="1600" b="0" dirty="0"/>
              <a:t> </a:t>
            </a:r>
            <a:r>
              <a:rPr lang="en-US" sz="2000" b="0" dirty="0"/>
              <a:t>recognized</a:t>
            </a:r>
            <a:endParaRPr lang="en-US" sz="1600" dirty="0"/>
          </a:p>
        </p:txBody>
      </p:sp>
      <p:pic>
        <p:nvPicPr>
          <p:cNvPr id="48" name="Video 47">
            <a:hlinkClick r:id="" action="ppaction://media"/>
            <a:extLst>
              <a:ext uri="{FF2B5EF4-FFF2-40B4-BE49-F238E27FC236}">
                <a16:creationId xmlns:a16="http://schemas.microsoft.com/office/drawing/2014/main" id="{25B0BF1B-9B10-6191-4649-A146DF876742}"/>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76669966"/>
      </p:ext>
    </p:extLst>
  </p:cSld>
  <p:clrMapOvr>
    <a:masterClrMapping/>
  </p:clrMapOvr>
  <mc:AlternateContent xmlns:mc="http://schemas.openxmlformats.org/markup-compatibility/2006">
    <mc:Choice xmlns:p14="http://schemas.microsoft.com/office/powerpoint/2010/main" Requires="p14">
      <p:transition spd="slow" p14:dur="2000" advTm="40830"/>
    </mc:Choice>
    <mc:Fallback>
      <p:transition spd="slow" advTm="408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8"/>
                </p:tgtEl>
              </p:cMediaNode>
            </p:video>
            <p:seq concurrent="1" nextAc="seek">
              <p:cTn id="8" restart="whenNotActive" fill="hold" evtFilter="cancelBubble" nodeType="interactiveSeq">
                <p:stCondLst>
                  <p:cond evt="onClick" delay="0">
                    <p:tgtEl>
                      <p:spTgt spid="4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8"/>
                                        </p:tgtEl>
                                      </p:cBhvr>
                                    </p:cmd>
                                  </p:childTnLst>
                                </p:cTn>
                              </p:par>
                            </p:childTnLst>
                          </p:cTn>
                        </p:par>
                      </p:childTnLst>
                    </p:cTn>
                  </p:par>
                </p:childTnLst>
              </p:cTn>
              <p:nextCondLst>
                <p:cond evt="onClick" delay="0">
                  <p:tgtEl>
                    <p:spTgt spid="48"/>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0E333-DD64-5ED6-CF5F-850456EFB9B9}"/>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171C00FE-B5CC-9C07-D824-610154ADF2C5}"/>
              </a:ext>
            </a:extLst>
          </p:cNvPr>
          <p:cNvSpPr>
            <a:spLocks noGrp="1"/>
          </p:cNvSpPr>
          <p:nvPr>
            <p:ph type="ftr" sz="quarter" idx="15"/>
          </p:nvPr>
        </p:nvSpPr>
        <p:spPr/>
        <p:txBody>
          <a:bodyPr/>
          <a:lstStyle/>
          <a:p>
            <a:r>
              <a:rPr lang="de-DE"/>
              <a:t>© Copyright Sensirion, Switzerland</a:t>
            </a:r>
            <a:endParaRPr lang="de-DE" dirty="0"/>
          </a:p>
        </p:txBody>
      </p:sp>
      <p:sp>
        <p:nvSpPr>
          <p:cNvPr id="5" name="Slide Number Placeholder 4">
            <a:extLst>
              <a:ext uri="{FF2B5EF4-FFF2-40B4-BE49-F238E27FC236}">
                <a16:creationId xmlns:a16="http://schemas.microsoft.com/office/drawing/2014/main" id="{413039EB-65D5-4893-C987-3D87EF9901AE}"/>
              </a:ext>
            </a:extLst>
          </p:cNvPr>
          <p:cNvSpPr>
            <a:spLocks noGrp="1"/>
          </p:cNvSpPr>
          <p:nvPr>
            <p:ph type="sldNum" sz="quarter" idx="16"/>
          </p:nvPr>
        </p:nvSpPr>
        <p:spPr/>
        <p:txBody>
          <a:bodyPr/>
          <a:lstStyle/>
          <a:p>
            <a:fld id="{B1E691A1-F3A6-4574-B226-B412272B38A6}" type="slidenum">
              <a:rPr lang="de-DE" smtClean="0"/>
              <a:pPr/>
              <a:t>3</a:t>
            </a:fld>
            <a:endParaRPr lang="de-DE"/>
          </a:p>
        </p:txBody>
      </p:sp>
      <p:sp>
        <p:nvSpPr>
          <p:cNvPr id="10" name="Title 16">
            <a:extLst>
              <a:ext uri="{FF2B5EF4-FFF2-40B4-BE49-F238E27FC236}">
                <a16:creationId xmlns:a16="http://schemas.microsoft.com/office/drawing/2014/main" id="{00D1D166-566C-DA0F-1B1C-E4017A7D844E}"/>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GD43S-M3-Sx </a:t>
            </a:r>
          </a:p>
        </p:txBody>
      </p:sp>
      <p:sp>
        <p:nvSpPr>
          <p:cNvPr id="11" name="Text Placeholder 20">
            <a:extLst>
              <a:ext uri="{FF2B5EF4-FFF2-40B4-BE49-F238E27FC236}">
                <a16:creationId xmlns:a16="http://schemas.microsoft.com/office/drawing/2014/main" id="{207AE707-477C-0EAA-1CD3-A167772EFB28}"/>
              </a:ext>
            </a:extLst>
          </p:cNvPr>
          <p:cNvSpPr txBox="1">
            <a:spLocks/>
          </p:cNvSpPr>
          <p:nvPr/>
        </p:nvSpPr>
        <p:spPr>
          <a:xfrm>
            <a:off x="515937" y="845582"/>
            <a:ext cx="8113157"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Features</a:t>
            </a:r>
          </a:p>
        </p:txBody>
      </p:sp>
      <p:pic>
        <p:nvPicPr>
          <p:cNvPr id="2" name="Picture 1" descr="A green light in the dark&#10;&#10;AI-generated content may be incorrect.">
            <a:extLst>
              <a:ext uri="{FF2B5EF4-FFF2-40B4-BE49-F238E27FC236}">
                <a16:creationId xmlns:a16="http://schemas.microsoft.com/office/drawing/2014/main" id="{CC0C0C34-9FF1-8B54-9314-4C00E974E5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8084" y="1696171"/>
            <a:ext cx="8269399" cy="4569704"/>
          </a:xfrm>
          <a:prstGeom prst="rect">
            <a:avLst/>
          </a:prstGeom>
        </p:spPr>
      </p:pic>
      <p:grpSp>
        <p:nvGrpSpPr>
          <p:cNvPr id="3" name="Group 2">
            <a:extLst>
              <a:ext uri="{FF2B5EF4-FFF2-40B4-BE49-F238E27FC236}">
                <a16:creationId xmlns:a16="http://schemas.microsoft.com/office/drawing/2014/main" id="{489BB241-C157-2256-7EA1-6795A86F1AC9}"/>
              </a:ext>
            </a:extLst>
          </p:cNvPr>
          <p:cNvGrpSpPr/>
          <p:nvPr/>
        </p:nvGrpSpPr>
        <p:grpSpPr>
          <a:xfrm>
            <a:off x="4089401" y="1247528"/>
            <a:ext cx="2925360" cy="1189352"/>
            <a:chOff x="5596672" y="1861901"/>
            <a:chExt cx="889822" cy="1176491"/>
          </a:xfrm>
        </p:grpSpPr>
        <p:sp>
          <p:nvSpPr>
            <p:cNvPr id="8" name="TextBox 7">
              <a:extLst>
                <a:ext uri="{FF2B5EF4-FFF2-40B4-BE49-F238E27FC236}">
                  <a16:creationId xmlns:a16="http://schemas.microsoft.com/office/drawing/2014/main" id="{650B6300-06C8-7E0D-FA1F-A93DF3F0A1F8}"/>
                </a:ext>
              </a:extLst>
            </p:cNvPr>
            <p:cNvSpPr txBox="1"/>
            <p:nvPr/>
          </p:nvSpPr>
          <p:spPr>
            <a:xfrm>
              <a:off x="5596672" y="1861901"/>
              <a:ext cx="889822" cy="691841"/>
            </a:xfrm>
            <a:prstGeom prst="rect">
              <a:avLst/>
            </a:prstGeom>
            <a:noFill/>
            <a:ln>
              <a:noFill/>
            </a:ln>
          </p:spPr>
          <p:txBody>
            <a:bodyPr wrap="square" lIns="72000" tIns="72000" rIns="72000" bIns="72000" rtlCol="0">
              <a:spAutoFit/>
            </a:bodyPr>
            <a:lstStyle/>
            <a:p>
              <a:pPr algn="l">
                <a:buClr>
                  <a:schemeClr val="accent1"/>
                </a:buClr>
              </a:pPr>
              <a:r>
                <a:rPr lang="en-US" b="1" dirty="0"/>
                <a:t>Gas inlet</a:t>
              </a:r>
            </a:p>
            <a:p>
              <a:pPr algn="l">
                <a:buClr>
                  <a:schemeClr val="accent1"/>
                </a:buClr>
              </a:pPr>
              <a:r>
                <a:rPr lang="en-US" dirty="0"/>
                <a:t>Membrane protected</a:t>
              </a:r>
            </a:p>
          </p:txBody>
        </p:sp>
        <p:cxnSp>
          <p:nvCxnSpPr>
            <p:cNvPr id="12" name="Straight Arrow Connector 11">
              <a:extLst>
                <a:ext uri="{FF2B5EF4-FFF2-40B4-BE49-F238E27FC236}">
                  <a16:creationId xmlns:a16="http://schemas.microsoft.com/office/drawing/2014/main" id="{64C37711-56A2-0F0A-1B2B-45355BB7D7FF}"/>
                </a:ext>
              </a:extLst>
            </p:cNvPr>
            <p:cNvCxnSpPr>
              <a:cxnSpLocks/>
            </p:cNvCxnSpPr>
            <p:nvPr/>
          </p:nvCxnSpPr>
          <p:spPr>
            <a:xfrm>
              <a:off x="5947991" y="2562572"/>
              <a:ext cx="191142" cy="475820"/>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D07A02A8-4D0A-78FB-CAC0-C61902114227}"/>
              </a:ext>
            </a:extLst>
          </p:cNvPr>
          <p:cNvGrpSpPr/>
          <p:nvPr/>
        </p:nvGrpSpPr>
        <p:grpSpPr>
          <a:xfrm>
            <a:off x="7585319" y="3719945"/>
            <a:ext cx="4383700" cy="1133628"/>
            <a:chOff x="6869938" y="5352045"/>
            <a:chExt cx="1920537" cy="338144"/>
          </a:xfrm>
        </p:grpSpPr>
        <p:sp>
          <p:nvSpPr>
            <p:cNvPr id="15" name="TextBox 14">
              <a:extLst>
                <a:ext uri="{FF2B5EF4-FFF2-40B4-BE49-F238E27FC236}">
                  <a16:creationId xmlns:a16="http://schemas.microsoft.com/office/drawing/2014/main" id="{0E63BBA3-705E-69B9-AFC5-01A44CAA16F2}"/>
                </a:ext>
              </a:extLst>
            </p:cNvPr>
            <p:cNvSpPr txBox="1"/>
            <p:nvPr/>
          </p:nvSpPr>
          <p:spPr>
            <a:xfrm>
              <a:off x="7583432" y="5352045"/>
              <a:ext cx="1207043" cy="313929"/>
            </a:xfrm>
            <a:prstGeom prst="rect">
              <a:avLst/>
            </a:prstGeom>
            <a:noFill/>
            <a:ln>
              <a:noFill/>
            </a:ln>
          </p:spPr>
          <p:txBody>
            <a:bodyPr wrap="square" lIns="72000" tIns="72000" rIns="72000" bIns="72000" rtlCol="0" anchor="t">
              <a:spAutoFit/>
            </a:bodyPr>
            <a:lstStyle/>
            <a:p>
              <a:pPr>
                <a:buClr>
                  <a:schemeClr val="accent1"/>
                </a:buClr>
              </a:pPr>
              <a:r>
                <a:rPr lang="en-US" b="1" dirty="0">
                  <a:cs typeface="Segoe UI"/>
                </a:rPr>
                <a:t>Mounting bracket</a:t>
              </a:r>
            </a:p>
            <a:p>
              <a:pPr>
                <a:buClr>
                  <a:schemeClr val="accent1"/>
                </a:buClr>
              </a:pPr>
              <a:r>
                <a:rPr lang="en-US" dirty="0">
                  <a:cs typeface="Segoe UI"/>
                </a:rPr>
                <a:t>Simple fixation</a:t>
              </a:r>
            </a:p>
          </p:txBody>
        </p:sp>
        <p:cxnSp>
          <p:nvCxnSpPr>
            <p:cNvPr id="16" name="Straight Arrow Connector 15">
              <a:extLst>
                <a:ext uri="{FF2B5EF4-FFF2-40B4-BE49-F238E27FC236}">
                  <a16:creationId xmlns:a16="http://schemas.microsoft.com/office/drawing/2014/main" id="{F6FF103B-3C4B-3446-5C37-BE532CE9B0EE}"/>
                </a:ext>
              </a:extLst>
            </p:cNvPr>
            <p:cNvCxnSpPr>
              <a:cxnSpLocks/>
            </p:cNvCxnSpPr>
            <p:nvPr/>
          </p:nvCxnSpPr>
          <p:spPr>
            <a:xfrm flipH="1">
              <a:off x="6869938" y="5457506"/>
              <a:ext cx="718038" cy="232683"/>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97A2477-8526-956A-96EC-3C5F6DD10771}"/>
              </a:ext>
            </a:extLst>
          </p:cNvPr>
          <p:cNvGrpSpPr/>
          <p:nvPr/>
        </p:nvGrpSpPr>
        <p:grpSpPr>
          <a:xfrm>
            <a:off x="698359" y="1988082"/>
            <a:ext cx="4164987" cy="989080"/>
            <a:chOff x="1589314" y="2872149"/>
            <a:chExt cx="3324700" cy="989080"/>
          </a:xfrm>
        </p:grpSpPr>
        <p:sp>
          <p:nvSpPr>
            <p:cNvPr id="18" name="TextBox 17">
              <a:extLst>
                <a:ext uri="{FF2B5EF4-FFF2-40B4-BE49-F238E27FC236}">
                  <a16:creationId xmlns:a16="http://schemas.microsoft.com/office/drawing/2014/main" id="{BC10BA6A-9E2C-B9B4-326D-B38E5E1729EE}"/>
                </a:ext>
              </a:extLst>
            </p:cNvPr>
            <p:cNvSpPr txBox="1"/>
            <p:nvPr/>
          </p:nvSpPr>
          <p:spPr>
            <a:xfrm>
              <a:off x="1589314" y="2872149"/>
              <a:ext cx="3188995" cy="699404"/>
            </a:xfrm>
            <a:prstGeom prst="rect">
              <a:avLst/>
            </a:prstGeom>
            <a:noFill/>
            <a:ln>
              <a:noFill/>
            </a:ln>
          </p:spPr>
          <p:txBody>
            <a:bodyPr wrap="square" lIns="72000" tIns="72000" rIns="72000" bIns="72000" rtlCol="0">
              <a:spAutoFit/>
            </a:bodyPr>
            <a:lstStyle/>
            <a:p>
              <a:pPr algn="l">
                <a:buClr>
                  <a:schemeClr val="accent1"/>
                </a:buClr>
              </a:pPr>
              <a:r>
                <a:rPr lang="en-US" b="1" dirty="0"/>
                <a:t>IP54 protection case</a:t>
              </a:r>
            </a:p>
            <a:p>
              <a:pPr algn="l">
                <a:buClr>
                  <a:schemeClr val="accent1"/>
                </a:buClr>
              </a:pPr>
              <a:r>
                <a:rPr lang="en-US" dirty="0"/>
                <a:t>UV stabilized &amp; sealed </a:t>
              </a:r>
            </a:p>
          </p:txBody>
        </p:sp>
        <p:cxnSp>
          <p:nvCxnSpPr>
            <p:cNvPr id="19" name="Straight Arrow Connector 18">
              <a:extLst>
                <a:ext uri="{FF2B5EF4-FFF2-40B4-BE49-F238E27FC236}">
                  <a16:creationId xmlns:a16="http://schemas.microsoft.com/office/drawing/2014/main" id="{8346FA64-5BD3-2AF3-6BAA-624457968AD4}"/>
                </a:ext>
              </a:extLst>
            </p:cNvPr>
            <p:cNvCxnSpPr>
              <a:cxnSpLocks/>
            </p:cNvCxnSpPr>
            <p:nvPr/>
          </p:nvCxnSpPr>
          <p:spPr>
            <a:xfrm>
              <a:off x="3561596" y="3136371"/>
              <a:ext cx="1352418" cy="724858"/>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C8A3EAE6-CC03-6B79-1008-ED6CFE3CE03D}"/>
              </a:ext>
            </a:extLst>
          </p:cNvPr>
          <p:cNvGrpSpPr/>
          <p:nvPr/>
        </p:nvGrpSpPr>
        <p:grpSpPr>
          <a:xfrm>
            <a:off x="154400" y="4289576"/>
            <a:ext cx="3498119" cy="976403"/>
            <a:chOff x="3107109" y="4931800"/>
            <a:chExt cx="1682676" cy="976403"/>
          </a:xfrm>
        </p:grpSpPr>
        <p:sp>
          <p:nvSpPr>
            <p:cNvPr id="21" name="TextBox 20">
              <a:extLst>
                <a:ext uri="{FF2B5EF4-FFF2-40B4-BE49-F238E27FC236}">
                  <a16:creationId xmlns:a16="http://schemas.microsoft.com/office/drawing/2014/main" id="{4A5B36EC-2338-AC90-D378-9ABEB5104953}"/>
                </a:ext>
              </a:extLst>
            </p:cNvPr>
            <p:cNvSpPr txBox="1"/>
            <p:nvPr/>
          </p:nvSpPr>
          <p:spPr>
            <a:xfrm>
              <a:off x="3107109" y="4931800"/>
              <a:ext cx="1665150" cy="976403"/>
            </a:xfrm>
            <a:prstGeom prst="rect">
              <a:avLst/>
            </a:prstGeom>
            <a:noFill/>
            <a:ln>
              <a:noFill/>
            </a:ln>
          </p:spPr>
          <p:txBody>
            <a:bodyPr wrap="square" lIns="72000" tIns="72000" rIns="72000" bIns="72000" rtlCol="0" anchor="t">
              <a:spAutoFit/>
            </a:bodyPr>
            <a:lstStyle/>
            <a:p>
              <a:pPr algn="l">
                <a:buClr>
                  <a:schemeClr val="accent1"/>
                </a:buClr>
              </a:pPr>
              <a:r>
                <a:rPr lang="en-US" b="1" dirty="0"/>
                <a:t>8 pin sealable connector</a:t>
              </a:r>
            </a:p>
            <a:p>
              <a:pPr algn="l">
                <a:buClr>
                  <a:schemeClr val="accent1"/>
                </a:buClr>
              </a:pPr>
              <a:r>
                <a:rPr lang="en-US" dirty="0"/>
                <a:t>Prepared for IP54 rated plug</a:t>
              </a:r>
            </a:p>
            <a:p>
              <a:pPr algn="l">
                <a:buClr>
                  <a:schemeClr val="accent1"/>
                </a:buClr>
              </a:pPr>
              <a:endParaRPr lang="en-US" b="1" dirty="0">
                <a:cs typeface="Segoe UI"/>
              </a:endParaRPr>
            </a:p>
          </p:txBody>
        </p:sp>
        <p:cxnSp>
          <p:nvCxnSpPr>
            <p:cNvPr id="22" name="Straight Arrow Connector 21">
              <a:extLst>
                <a:ext uri="{FF2B5EF4-FFF2-40B4-BE49-F238E27FC236}">
                  <a16:creationId xmlns:a16="http://schemas.microsoft.com/office/drawing/2014/main" id="{B02B23EC-17D7-DE9C-63EC-A17434C450F3}"/>
                </a:ext>
              </a:extLst>
            </p:cNvPr>
            <p:cNvCxnSpPr>
              <a:cxnSpLocks/>
            </p:cNvCxnSpPr>
            <p:nvPr/>
          </p:nvCxnSpPr>
          <p:spPr>
            <a:xfrm>
              <a:off x="4557258" y="5234573"/>
              <a:ext cx="232527" cy="193712"/>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297BE5E9-E533-5F0C-8D8D-C576FAB8D288}"/>
              </a:ext>
            </a:extLst>
          </p:cNvPr>
          <p:cNvGrpSpPr/>
          <p:nvPr/>
        </p:nvGrpSpPr>
        <p:grpSpPr>
          <a:xfrm>
            <a:off x="563246" y="5139506"/>
            <a:ext cx="3870959" cy="989080"/>
            <a:chOff x="5664307" y="4801181"/>
            <a:chExt cx="1485675" cy="989080"/>
          </a:xfrm>
        </p:grpSpPr>
        <p:sp>
          <p:nvSpPr>
            <p:cNvPr id="24" name="TextBox 23">
              <a:extLst>
                <a:ext uri="{FF2B5EF4-FFF2-40B4-BE49-F238E27FC236}">
                  <a16:creationId xmlns:a16="http://schemas.microsoft.com/office/drawing/2014/main" id="{9F357099-1ADE-4423-E375-5BCA56528190}"/>
                </a:ext>
              </a:extLst>
            </p:cNvPr>
            <p:cNvSpPr txBox="1"/>
            <p:nvPr/>
          </p:nvSpPr>
          <p:spPr>
            <a:xfrm>
              <a:off x="5664307" y="5090857"/>
              <a:ext cx="1485675" cy="699404"/>
            </a:xfrm>
            <a:prstGeom prst="rect">
              <a:avLst/>
            </a:prstGeom>
            <a:noFill/>
            <a:ln>
              <a:noFill/>
            </a:ln>
          </p:spPr>
          <p:txBody>
            <a:bodyPr wrap="square" lIns="72000" tIns="72000" rIns="72000" bIns="72000" rtlCol="0">
              <a:spAutoFit/>
            </a:bodyPr>
            <a:lstStyle/>
            <a:p>
              <a:pPr algn="l">
                <a:buClr>
                  <a:schemeClr val="accent1"/>
                </a:buClr>
              </a:pPr>
              <a:r>
                <a:rPr lang="en-US" b="1" dirty="0"/>
                <a:t>RS-485 interface</a:t>
              </a:r>
            </a:p>
            <a:p>
              <a:pPr algn="l">
                <a:buClr>
                  <a:schemeClr val="accent1"/>
                </a:buClr>
              </a:pPr>
              <a:r>
                <a:rPr lang="en-US" dirty="0"/>
                <a:t>Digital communication to the device </a:t>
              </a:r>
            </a:p>
          </p:txBody>
        </p:sp>
        <p:cxnSp>
          <p:nvCxnSpPr>
            <p:cNvPr id="25" name="Straight Arrow Connector 24">
              <a:extLst>
                <a:ext uri="{FF2B5EF4-FFF2-40B4-BE49-F238E27FC236}">
                  <a16:creationId xmlns:a16="http://schemas.microsoft.com/office/drawing/2014/main" id="{C5E0911E-D843-00A5-0ABA-64C00F3097CD}"/>
                </a:ext>
              </a:extLst>
            </p:cNvPr>
            <p:cNvCxnSpPr>
              <a:cxnSpLocks/>
            </p:cNvCxnSpPr>
            <p:nvPr/>
          </p:nvCxnSpPr>
          <p:spPr>
            <a:xfrm flipV="1">
              <a:off x="6540158" y="4801181"/>
              <a:ext cx="413148" cy="508881"/>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7B02A12E-0FB4-26E1-2E28-97650AA0FEC5}"/>
              </a:ext>
            </a:extLst>
          </p:cNvPr>
          <p:cNvGrpSpPr/>
          <p:nvPr/>
        </p:nvGrpSpPr>
        <p:grpSpPr>
          <a:xfrm>
            <a:off x="7831569" y="2507532"/>
            <a:ext cx="4169954" cy="699404"/>
            <a:chOff x="6519859" y="2520709"/>
            <a:chExt cx="2633238" cy="699404"/>
          </a:xfrm>
        </p:grpSpPr>
        <p:cxnSp>
          <p:nvCxnSpPr>
            <p:cNvPr id="27" name="Straight Arrow Connector 26">
              <a:extLst>
                <a:ext uri="{FF2B5EF4-FFF2-40B4-BE49-F238E27FC236}">
                  <a16:creationId xmlns:a16="http://schemas.microsoft.com/office/drawing/2014/main" id="{D73370F8-116D-D2C4-153B-D4CE76A66DD0}"/>
                </a:ext>
              </a:extLst>
            </p:cNvPr>
            <p:cNvCxnSpPr>
              <a:cxnSpLocks/>
              <a:stCxn id="28" idx="1"/>
            </p:cNvCxnSpPr>
            <p:nvPr/>
          </p:nvCxnSpPr>
          <p:spPr>
            <a:xfrm flipH="1">
              <a:off x="6519859" y="2870411"/>
              <a:ext cx="569866" cy="82162"/>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255F0CC-CBD5-60B1-D3C9-0DF9EFAB3093}"/>
                </a:ext>
              </a:extLst>
            </p:cNvPr>
            <p:cNvSpPr txBox="1"/>
            <p:nvPr/>
          </p:nvSpPr>
          <p:spPr>
            <a:xfrm>
              <a:off x="7089725" y="2520709"/>
              <a:ext cx="2063372" cy="699404"/>
            </a:xfrm>
            <a:prstGeom prst="rect">
              <a:avLst/>
            </a:prstGeom>
            <a:noFill/>
            <a:ln>
              <a:noFill/>
            </a:ln>
          </p:spPr>
          <p:txBody>
            <a:bodyPr wrap="square" lIns="72000" tIns="72000" rIns="72000" bIns="72000" rtlCol="0">
              <a:spAutoFit/>
            </a:bodyPr>
            <a:lstStyle/>
            <a:p>
              <a:pPr algn="l">
                <a:buClr>
                  <a:schemeClr val="accent1"/>
                </a:buClr>
              </a:pPr>
              <a:r>
                <a:rPr lang="en-US" b="1" dirty="0"/>
                <a:t>Status LED</a:t>
              </a:r>
            </a:p>
            <a:p>
              <a:pPr algn="l">
                <a:buClr>
                  <a:schemeClr val="accent1"/>
                </a:buClr>
              </a:pPr>
              <a:r>
                <a:rPr lang="en-US" dirty="0"/>
                <a:t>Helps in troubleshooting</a:t>
              </a:r>
            </a:p>
          </p:txBody>
        </p:sp>
      </p:grpSp>
      <p:grpSp>
        <p:nvGrpSpPr>
          <p:cNvPr id="29" name="Group 28">
            <a:extLst>
              <a:ext uri="{FF2B5EF4-FFF2-40B4-BE49-F238E27FC236}">
                <a16:creationId xmlns:a16="http://schemas.microsoft.com/office/drawing/2014/main" id="{831A4681-9D23-6CFB-BDD1-800784887202}"/>
              </a:ext>
            </a:extLst>
          </p:cNvPr>
          <p:cNvGrpSpPr/>
          <p:nvPr/>
        </p:nvGrpSpPr>
        <p:grpSpPr>
          <a:xfrm>
            <a:off x="7001699" y="956616"/>
            <a:ext cx="4999822" cy="1537062"/>
            <a:chOff x="5993054" y="1988524"/>
            <a:chExt cx="3075534" cy="984677"/>
          </a:xfrm>
        </p:grpSpPr>
        <p:sp>
          <p:nvSpPr>
            <p:cNvPr id="30" name="TextBox 29">
              <a:extLst>
                <a:ext uri="{FF2B5EF4-FFF2-40B4-BE49-F238E27FC236}">
                  <a16:creationId xmlns:a16="http://schemas.microsoft.com/office/drawing/2014/main" id="{37637F57-DA40-0F83-18EB-3080F9591D9F}"/>
                </a:ext>
              </a:extLst>
            </p:cNvPr>
            <p:cNvSpPr txBox="1"/>
            <p:nvPr/>
          </p:nvSpPr>
          <p:spPr>
            <a:xfrm>
              <a:off x="6711057" y="1988524"/>
              <a:ext cx="2357531" cy="625506"/>
            </a:xfrm>
            <a:prstGeom prst="rect">
              <a:avLst/>
            </a:prstGeom>
            <a:noFill/>
            <a:ln>
              <a:noFill/>
            </a:ln>
          </p:spPr>
          <p:txBody>
            <a:bodyPr wrap="square" lIns="72000" tIns="72000" rIns="72000" bIns="72000" rtlCol="0">
              <a:spAutoFit/>
            </a:bodyPr>
            <a:lstStyle/>
            <a:p>
              <a:pPr algn="l">
                <a:buClr>
                  <a:schemeClr val="accent1"/>
                </a:buClr>
              </a:pPr>
              <a:r>
                <a:rPr lang="en-US" b="1" dirty="0"/>
                <a:t>Anti-condensation heaters</a:t>
              </a:r>
            </a:p>
            <a:p>
              <a:pPr algn="l">
                <a:buClr>
                  <a:schemeClr val="accent1"/>
                </a:buClr>
              </a:pPr>
              <a:r>
                <a:rPr lang="en-US" dirty="0"/>
                <a:t>Avoid mold growth and corrosion</a:t>
              </a:r>
            </a:p>
            <a:p>
              <a:pPr marL="285750" indent="-285750" algn="l">
                <a:buClr>
                  <a:schemeClr val="accent1"/>
                </a:buClr>
                <a:buFont typeface="Arial" panose="020B0604020202020204" pitchFamily="34" charset="0"/>
                <a:buChar char="•"/>
              </a:pPr>
              <a:endParaRPr lang="en-US" dirty="0"/>
            </a:p>
          </p:txBody>
        </p:sp>
        <p:cxnSp>
          <p:nvCxnSpPr>
            <p:cNvPr id="31" name="Straight Arrow Connector 30">
              <a:extLst>
                <a:ext uri="{FF2B5EF4-FFF2-40B4-BE49-F238E27FC236}">
                  <a16:creationId xmlns:a16="http://schemas.microsoft.com/office/drawing/2014/main" id="{F2961BBF-91DF-10B5-54C1-BFE4DEDD65B3}"/>
                </a:ext>
              </a:extLst>
            </p:cNvPr>
            <p:cNvCxnSpPr>
              <a:cxnSpLocks/>
              <a:stCxn id="30" idx="1"/>
            </p:cNvCxnSpPr>
            <p:nvPr/>
          </p:nvCxnSpPr>
          <p:spPr>
            <a:xfrm flipH="1">
              <a:off x="5993054" y="2301277"/>
              <a:ext cx="718003" cy="671924"/>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37DD4A6D-82FA-4CDF-0F65-71F7FC25D071}"/>
              </a:ext>
            </a:extLst>
          </p:cNvPr>
          <p:cNvGrpSpPr/>
          <p:nvPr/>
        </p:nvGrpSpPr>
        <p:grpSpPr>
          <a:xfrm>
            <a:off x="222980" y="3107089"/>
            <a:ext cx="3994984" cy="699404"/>
            <a:chOff x="1380441" y="2894519"/>
            <a:chExt cx="3188995" cy="699404"/>
          </a:xfrm>
        </p:grpSpPr>
        <p:sp>
          <p:nvSpPr>
            <p:cNvPr id="33" name="TextBox 32">
              <a:extLst>
                <a:ext uri="{FF2B5EF4-FFF2-40B4-BE49-F238E27FC236}">
                  <a16:creationId xmlns:a16="http://schemas.microsoft.com/office/drawing/2014/main" id="{6E539948-3FD7-9F03-AA39-F59979C36D1E}"/>
                </a:ext>
              </a:extLst>
            </p:cNvPr>
            <p:cNvSpPr txBox="1"/>
            <p:nvPr/>
          </p:nvSpPr>
          <p:spPr>
            <a:xfrm>
              <a:off x="1380441" y="2894519"/>
              <a:ext cx="3188995" cy="699404"/>
            </a:xfrm>
            <a:prstGeom prst="rect">
              <a:avLst/>
            </a:prstGeom>
            <a:noFill/>
            <a:ln>
              <a:noFill/>
            </a:ln>
          </p:spPr>
          <p:txBody>
            <a:bodyPr wrap="square" lIns="72000" tIns="72000" rIns="72000" bIns="72000" rtlCol="0">
              <a:spAutoFit/>
            </a:bodyPr>
            <a:lstStyle/>
            <a:p>
              <a:pPr algn="l">
                <a:buClr>
                  <a:schemeClr val="accent1"/>
                </a:buClr>
              </a:pPr>
              <a:r>
                <a:rPr lang="en-US" b="1" dirty="0"/>
                <a:t>Laser marking tracking</a:t>
              </a:r>
            </a:p>
            <a:p>
              <a:pPr algn="l">
                <a:buClr>
                  <a:schemeClr val="accent1"/>
                </a:buClr>
              </a:pPr>
              <a:r>
                <a:rPr lang="en-US" dirty="0"/>
                <a:t>QR-code &amp; serial number</a:t>
              </a:r>
            </a:p>
          </p:txBody>
        </p:sp>
        <p:cxnSp>
          <p:nvCxnSpPr>
            <p:cNvPr id="34" name="Straight Arrow Connector 33">
              <a:extLst>
                <a:ext uri="{FF2B5EF4-FFF2-40B4-BE49-F238E27FC236}">
                  <a16:creationId xmlns:a16="http://schemas.microsoft.com/office/drawing/2014/main" id="{5DF4A2F6-5018-47B8-7E8E-A7BFD42B08C0}"/>
                </a:ext>
              </a:extLst>
            </p:cNvPr>
            <p:cNvCxnSpPr>
              <a:cxnSpLocks/>
            </p:cNvCxnSpPr>
            <p:nvPr/>
          </p:nvCxnSpPr>
          <p:spPr>
            <a:xfrm>
              <a:off x="3561596" y="3136371"/>
              <a:ext cx="527389" cy="348191"/>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D922D160-2FD0-15F4-7542-A50EF7A1B58F}"/>
              </a:ext>
            </a:extLst>
          </p:cNvPr>
          <p:cNvGrpSpPr/>
          <p:nvPr/>
        </p:nvGrpSpPr>
        <p:grpSpPr>
          <a:xfrm>
            <a:off x="5558588" y="5604114"/>
            <a:ext cx="4537949" cy="699404"/>
            <a:chOff x="5358006" y="5090857"/>
            <a:chExt cx="1791976" cy="699404"/>
          </a:xfrm>
        </p:grpSpPr>
        <p:sp>
          <p:nvSpPr>
            <p:cNvPr id="40" name="TextBox 39">
              <a:extLst>
                <a:ext uri="{FF2B5EF4-FFF2-40B4-BE49-F238E27FC236}">
                  <a16:creationId xmlns:a16="http://schemas.microsoft.com/office/drawing/2014/main" id="{B433F665-56F1-36CA-09BD-A58746ED2730}"/>
                </a:ext>
              </a:extLst>
            </p:cNvPr>
            <p:cNvSpPr txBox="1"/>
            <p:nvPr/>
          </p:nvSpPr>
          <p:spPr>
            <a:xfrm>
              <a:off x="5664307" y="5090857"/>
              <a:ext cx="1485675" cy="699404"/>
            </a:xfrm>
            <a:prstGeom prst="rect">
              <a:avLst/>
            </a:prstGeom>
            <a:noFill/>
            <a:ln>
              <a:noFill/>
            </a:ln>
          </p:spPr>
          <p:txBody>
            <a:bodyPr wrap="square" lIns="72000" tIns="72000" rIns="72000" bIns="72000" rtlCol="0">
              <a:spAutoFit/>
            </a:bodyPr>
            <a:lstStyle/>
            <a:p>
              <a:pPr algn="l">
                <a:buClr>
                  <a:schemeClr val="accent1"/>
                </a:buClr>
              </a:pPr>
              <a:r>
                <a:rPr lang="en-US" b="1" dirty="0"/>
                <a:t>Dual relay output</a:t>
              </a:r>
            </a:p>
            <a:p>
              <a:pPr algn="l">
                <a:buClr>
                  <a:schemeClr val="accent1"/>
                </a:buClr>
              </a:pPr>
              <a:r>
                <a:rPr lang="en-US" dirty="0"/>
                <a:t>Actuating the mitigation </a:t>
              </a:r>
            </a:p>
          </p:txBody>
        </p:sp>
        <p:cxnSp>
          <p:nvCxnSpPr>
            <p:cNvPr id="41" name="Straight Arrow Connector 40">
              <a:extLst>
                <a:ext uri="{FF2B5EF4-FFF2-40B4-BE49-F238E27FC236}">
                  <a16:creationId xmlns:a16="http://schemas.microsoft.com/office/drawing/2014/main" id="{95F04C74-596C-40B3-9DD4-6919D7F40BFE}"/>
                </a:ext>
              </a:extLst>
            </p:cNvPr>
            <p:cNvCxnSpPr>
              <a:cxnSpLocks/>
              <a:stCxn id="40" idx="1"/>
            </p:cNvCxnSpPr>
            <p:nvPr/>
          </p:nvCxnSpPr>
          <p:spPr>
            <a:xfrm flipH="1" flipV="1">
              <a:off x="5358006" y="5233747"/>
              <a:ext cx="306301" cy="206812"/>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7" name="Video 56">
            <a:hlinkClick r:id="" action="ppaction://media"/>
            <a:extLst>
              <a:ext uri="{FF2B5EF4-FFF2-40B4-BE49-F238E27FC236}">
                <a16:creationId xmlns:a16="http://schemas.microsoft.com/office/drawing/2014/main" id="{15526031-B807-A012-297E-30A69D74D49A}"/>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912573013"/>
      </p:ext>
    </p:extLst>
  </p:cSld>
  <p:clrMapOvr>
    <a:masterClrMapping/>
  </p:clrMapOvr>
  <mc:AlternateContent xmlns:mc="http://schemas.openxmlformats.org/markup-compatibility/2006">
    <mc:Choice xmlns:p14="http://schemas.microsoft.com/office/powerpoint/2010/main" Requires="p14">
      <p:transition spd="slow" p14:dur="2000" advTm="57593"/>
    </mc:Choice>
    <mc:Fallback>
      <p:transition spd="slow" advTm="5759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7"/>
                </p:tgtEl>
              </p:cMediaNode>
            </p:video>
            <p:seq concurrent="1" nextAc="seek">
              <p:cTn id="8" restart="whenNotActive" fill="hold" evtFilter="cancelBubble" nodeType="interactiveSeq">
                <p:stCondLst>
                  <p:cond evt="onClick" delay="0">
                    <p:tgtEl>
                      <p:spTgt spid="5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7"/>
                                        </p:tgtEl>
                                      </p:cBhvr>
                                    </p:cmd>
                                  </p:childTnLst>
                                </p:cTn>
                              </p:par>
                            </p:childTnLst>
                          </p:cTn>
                        </p:par>
                      </p:childTnLst>
                    </p:cTn>
                  </p:par>
                </p:childTnLst>
              </p:cTn>
              <p:nextCondLst>
                <p:cond evt="onClick" delay="0">
                  <p:tgtEl>
                    <p:spTgt spid="57"/>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B496C38-BEED-F6D3-92C7-FF85B620FBBF}"/>
              </a:ext>
            </a:extLst>
          </p:cNvPr>
          <p:cNvSpPr>
            <a:spLocks noGrp="1"/>
          </p:cNvSpPr>
          <p:nvPr>
            <p:ph type="ftr" sz="quarter" idx="15"/>
          </p:nvPr>
        </p:nvSpPr>
        <p:spPr/>
        <p:txBody>
          <a:bodyPr/>
          <a:lstStyle/>
          <a:p>
            <a:r>
              <a:rPr lang="de-DE"/>
              <a:t>© Copyright Sensirion, Switzerland</a:t>
            </a:r>
            <a:endParaRPr lang="de-DE" dirty="0"/>
          </a:p>
        </p:txBody>
      </p:sp>
      <p:sp>
        <p:nvSpPr>
          <p:cNvPr id="5" name="Slide Number Placeholder 4">
            <a:extLst>
              <a:ext uri="{FF2B5EF4-FFF2-40B4-BE49-F238E27FC236}">
                <a16:creationId xmlns:a16="http://schemas.microsoft.com/office/drawing/2014/main" id="{05F4F89E-5DF3-E19B-B324-AAE6A3478777}"/>
              </a:ext>
            </a:extLst>
          </p:cNvPr>
          <p:cNvSpPr>
            <a:spLocks noGrp="1"/>
          </p:cNvSpPr>
          <p:nvPr>
            <p:ph type="sldNum" sz="quarter" idx="16"/>
          </p:nvPr>
        </p:nvSpPr>
        <p:spPr/>
        <p:txBody>
          <a:bodyPr/>
          <a:lstStyle/>
          <a:p>
            <a:fld id="{B1E691A1-F3A6-4574-B226-B412272B38A6}" type="slidenum">
              <a:rPr lang="de-DE" smtClean="0"/>
              <a:pPr/>
              <a:t>4</a:t>
            </a:fld>
            <a:endParaRPr lang="de-DE"/>
          </a:p>
        </p:txBody>
      </p:sp>
      <p:pic>
        <p:nvPicPr>
          <p:cNvPr id="6" name="Picture 2" descr="Leakage Detection">
            <a:extLst>
              <a:ext uri="{FF2B5EF4-FFF2-40B4-BE49-F238E27FC236}">
                <a16:creationId xmlns:a16="http://schemas.microsoft.com/office/drawing/2014/main" id="{71416D29-0FB7-27B8-C7B2-2BDDFA2421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3055" r="-1" b="-1"/>
          <a:stretch/>
        </p:blipFill>
        <p:spPr bwMode="auto">
          <a:xfrm>
            <a:off x="515937" y="1695846"/>
            <a:ext cx="5484813" cy="4608512"/>
          </a:xfrm>
          <a:prstGeom prst="rect">
            <a:avLst/>
          </a:prstGeom>
          <a:solidFill>
            <a:srgbClr val="FFFFFF"/>
          </a:solidFill>
        </p:spPr>
      </p:pic>
      <p:sp>
        <p:nvSpPr>
          <p:cNvPr id="9" name="TextBox 8">
            <a:extLst>
              <a:ext uri="{FF2B5EF4-FFF2-40B4-BE49-F238E27FC236}">
                <a16:creationId xmlns:a16="http://schemas.microsoft.com/office/drawing/2014/main" id="{0A891C99-E68E-B25F-4510-71A869C8F92D}"/>
              </a:ext>
            </a:extLst>
          </p:cNvPr>
          <p:cNvSpPr txBox="1"/>
          <p:nvPr/>
        </p:nvSpPr>
        <p:spPr bwMode="gray">
          <a:xfrm>
            <a:off x="6191249" y="2364926"/>
            <a:ext cx="5484814" cy="888938"/>
          </a:xfrm>
          <a:prstGeom prst="rect">
            <a:avLst/>
          </a:prstGeom>
          <a:solidFill>
            <a:schemeClr val="bg1">
              <a:lumMod val="95000"/>
            </a:schemeClr>
          </a:solidFill>
        </p:spPr>
        <p:txBody>
          <a:bodyPr wrap="square" rtlCol="0"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1600" b="1" dirty="0">
                <a:solidFill>
                  <a:schemeClr val="tx2"/>
                </a:solidFill>
                <a:latin typeface="+mj-lt"/>
                <a:cs typeface="Segoe UI" panose="020B0502040204020203" pitchFamily="34" charset="0"/>
              </a:rPr>
              <a:t>  SGD43S-M3-S5 </a:t>
            </a:r>
            <a:r>
              <a:rPr lang="en-US" sz="1600" dirty="0">
                <a:solidFill>
                  <a:schemeClr val="tx2"/>
                </a:solidFill>
                <a:latin typeface="+mj-lt"/>
                <a:cs typeface="Segoe UI" panose="020B0502040204020203" pitchFamily="34" charset="0"/>
              </a:rPr>
              <a:t>– HVAC applications</a:t>
            </a:r>
          </a:p>
          <a:p>
            <a:pPr marL="0" marR="0" lvl="0" indent="0" defTabSz="914400" rtl="0" eaLnBrk="1" fontAlgn="base" latinLnBrk="0" hangingPunct="1">
              <a:lnSpc>
                <a:spcPct val="100000"/>
              </a:lnSpc>
              <a:spcBef>
                <a:spcPct val="0"/>
              </a:spcBef>
              <a:spcAft>
                <a:spcPct val="0"/>
              </a:spcAft>
              <a:buClrTx/>
              <a:buSzTx/>
              <a:buFontTx/>
              <a:buNone/>
              <a:tabLst/>
              <a:defRPr/>
            </a:pPr>
            <a:r>
              <a:rPr lang="en-US" sz="1600" b="1" dirty="0">
                <a:solidFill>
                  <a:schemeClr val="bg1">
                    <a:lumMod val="95000"/>
                  </a:schemeClr>
                </a:solidFill>
                <a:latin typeface="+mj-lt"/>
                <a:cs typeface="Segoe UI" panose="020B0502040204020203" pitchFamily="34" charset="0"/>
              </a:rPr>
              <a:t>  SGD43S-M3-S5 </a:t>
            </a:r>
            <a:r>
              <a:rPr lang="en-US" sz="1600" dirty="0">
                <a:solidFill>
                  <a:schemeClr val="bg1">
                    <a:lumMod val="95000"/>
                  </a:schemeClr>
                </a:solidFill>
                <a:latin typeface="+mj-lt"/>
                <a:cs typeface="Segoe UI" panose="020B0502040204020203" pitchFamily="34" charset="0"/>
              </a:rPr>
              <a:t>– </a:t>
            </a:r>
            <a:r>
              <a:rPr lang="en-US" sz="1600" dirty="0">
                <a:solidFill>
                  <a:schemeClr val="tx2"/>
                </a:solidFill>
                <a:latin typeface="+mj-lt"/>
                <a:cs typeface="Segoe UI" panose="020B0502040204020203" pitchFamily="34" charset="0"/>
              </a:rPr>
              <a:t>Calibrated for R-32, R-454B</a:t>
            </a:r>
          </a:p>
        </p:txBody>
      </p:sp>
      <p:sp>
        <p:nvSpPr>
          <p:cNvPr id="10" name="Title 16">
            <a:extLst>
              <a:ext uri="{FF2B5EF4-FFF2-40B4-BE49-F238E27FC236}">
                <a16:creationId xmlns:a16="http://schemas.microsoft.com/office/drawing/2014/main" id="{7F55842B-2B7A-6EF1-A090-B7B457CCF18D}"/>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GD43S-M3-Sx </a:t>
            </a:r>
          </a:p>
        </p:txBody>
      </p:sp>
      <p:sp>
        <p:nvSpPr>
          <p:cNvPr id="11" name="Text Placeholder 20">
            <a:extLst>
              <a:ext uri="{FF2B5EF4-FFF2-40B4-BE49-F238E27FC236}">
                <a16:creationId xmlns:a16="http://schemas.microsoft.com/office/drawing/2014/main" id="{A190D4F4-0E30-77CD-CF4F-C0444B6C72CE}"/>
              </a:ext>
            </a:extLst>
          </p:cNvPr>
          <p:cNvSpPr txBox="1">
            <a:spLocks/>
          </p:cNvSpPr>
          <p:nvPr/>
        </p:nvSpPr>
        <p:spPr>
          <a:xfrm>
            <a:off x="515937" y="845582"/>
            <a:ext cx="9816783"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Tailored for every HVACR application</a:t>
            </a:r>
          </a:p>
        </p:txBody>
      </p:sp>
      <p:sp>
        <p:nvSpPr>
          <p:cNvPr id="14" name="TextBox 13">
            <a:extLst>
              <a:ext uri="{FF2B5EF4-FFF2-40B4-BE49-F238E27FC236}">
                <a16:creationId xmlns:a16="http://schemas.microsoft.com/office/drawing/2014/main" id="{F986F197-0041-3701-5D3A-7ED0C53497A6}"/>
              </a:ext>
            </a:extLst>
          </p:cNvPr>
          <p:cNvSpPr txBox="1"/>
          <p:nvPr/>
        </p:nvSpPr>
        <p:spPr bwMode="gray">
          <a:xfrm>
            <a:off x="6191249" y="3491907"/>
            <a:ext cx="5484813" cy="888938"/>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chemeClr val="tx2"/>
                </a:solidFill>
                <a:latin typeface="+mj-lt"/>
                <a:cs typeface="Segoe UI" panose="020B0502040204020203" pitchFamily="34" charset="0"/>
              </a:rPr>
              <a:t>  SGD43S-M3-S7 </a:t>
            </a:r>
            <a:r>
              <a:rPr lang="en-US" sz="1600" dirty="0">
                <a:solidFill>
                  <a:schemeClr val="tx2"/>
                </a:solidFill>
                <a:latin typeface="+mj-lt"/>
                <a:cs typeface="Segoe UI" panose="020B0502040204020203" pitchFamily="34" charset="0"/>
              </a:rPr>
              <a:t>– Refrigeration applications</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schemeClr val="bg1">
                    <a:lumMod val="95000"/>
                  </a:schemeClr>
                </a:solidFill>
                <a:latin typeface="+mj-lt"/>
                <a:cs typeface="Segoe UI" panose="020B0502040204020203" pitchFamily="34" charset="0"/>
              </a:rPr>
              <a:t>  SGD43S-M3-S5 </a:t>
            </a:r>
            <a:r>
              <a:rPr lang="en-US" sz="1600" dirty="0">
                <a:solidFill>
                  <a:schemeClr val="bg1">
                    <a:lumMod val="95000"/>
                  </a:schemeClr>
                </a:solidFill>
                <a:latin typeface="+mj-lt"/>
                <a:cs typeface="Segoe UI" panose="020B0502040204020203" pitchFamily="34" charset="0"/>
              </a:rPr>
              <a:t>– </a:t>
            </a:r>
            <a:r>
              <a:rPr lang="en-US" sz="1600" dirty="0">
                <a:solidFill>
                  <a:schemeClr val="tx2"/>
                </a:solidFill>
                <a:latin typeface="+mj-lt"/>
                <a:cs typeface="Segoe UI" panose="020B0502040204020203" pitchFamily="34" charset="0"/>
              </a:rPr>
              <a:t>Calibrated for R-454A, R-454C, R-455A</a:t>
            </a:r>
          </a:p>
        </p:txBody>
      </p:sp>
      <p:pic>
        <p:nvPicPr>
          <p:cNvPr id="32" name="Video 31">
            <a:hlinkClick r:id="" action="ppaction://media"/>
            <a:extLst>
              <a:ext uri="{FF2B5EF4-FFF2-40B4-BE49-F238E27FC236}">
                <a16:creationId xmlns:a16="http://schemas.microsoft.com/office/drawing/2014/main" id="{56A9C782-475B-FE2C-BB85-226ECCF37BB7}"/>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30332470"/>
      </p:ext>
    </p:extLst>
  </p:cSld>
  <p:clrMapOvr>
    <a:masterClrMapping/>
  </p:clrMapOvr>
  <mc:AlternateContent xmlns:mc="http://schemas.openxmlformats.org/markup-compatibility/2006">
    <mc:Choice xmlns:p14="http://schemas.microsoft.com/office/powerpoint/2010/main" Requires="p14">
      <p:transition spd="slow" p14:dur="2000" advTm="57480"/>
    </mc:Choice>
    <mc:Fallback>
      <p:transition spd="slow" advTm="574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2"/>
                </p:tgtEl>
              </p:cMediaNode>
            </p:video>
            <p:seq concurrent="1" nextAc="seek">
              <p:cTn id="8" restart="whenNotActive" fill="hold" evtFilter="cancelBubble" nodeType="interactiveSeq">
                <p:stCondLst>
                  <p:cond evt="onClick" delay="0">
                    <p:tgtEl>
                      <p:spTgt spid="3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2"/>
                                        </p:tgtEl>
                                      </p:cBhvr>
                                    </p:cmd>
                                  </p:childTnLst>
                                </p:cTn>
                              </p:par>
                            </p:childTnLst>
                          </p:cTn>
                        </p:par>
                      </p:childTnLst>
                    </p:cTn>
                  </p:par>
                </p:childTnLst>
              </p:cTn>
              <p:nextCondLst>
                <p:cond evt="onClick" delay="0">
                  <p:tgtEl>
                    <p:spTgt spid="3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782de24-a0b6-471a-a54c-a20666d772c0">
      <Terms xmlns="http://schemas.microsoft.com/office/infopath/2007/PartnerControls"/>
    </lcf76f155ced4ddcb4097134ff3c332f>
    <TaxCatchAll xmlns="e6b17203-28e5-4714-b41a-86da136118d4"/>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EC63112E13CE4788F7ECCEE3C78555" ma:contentTypeVersion="15" ma:contentTypeDescription="Create a new document." ma:contentTypeScope="" ma:versionID="ae23d63f24187e762b9dd31cffdf2859">
  <xsd:schema xmlns:xsd="http://www.w3.org/2001/XMLSchema" xmlns:xs="http://www.w3.org/2001/XMLSchema" xmlns:p="http://schemas.microsoft.com/office/2006/metadata/properties" xmlns:ns2="0782de24-a0b6-471a-a54c-a20666d772c0" xmlns:ns3="9b096da1-55ae-40f0-828e-d96caf0055d1" xmlns:ns4="e6b17203-28e5-4714-b41a-86da136118d4" targetNamespace="http://schemas.microsoft.com/office/2006/metadata/properties" ma:root="true" ma:fieldsID="21806b67b89817234ac5af9ad7f4adc6" ns2:_="" ns3:_="" ns4:_="">
    <xsd:import namespace="0782de24-a0b6-471a-a54c-a20666d772c0"/>
    <xsd:import namespace="9b096da1-55ae-40f0-828e-d96caf0055d1"/>
    <xsd:import namespace="e6b17203-28e5-4714-b41a-86da136118d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Locatio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82de24-a0b6-471a-a54c-a20666d772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6b17203-28e5-4714-b41a-86da136118d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ae0aee-7591-4d50-9748-c21f23f9acb4}" ma:internalName="TaxCatchAll" ma:showField="CatchAllData" ma:web="e6b17203-28e5-4714-b41a-86da136118d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14DE11-25CA-49F5-BF53-8B8254DCAF4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9b096da1-55ae-40f0-828e-d96caf0055d1"/>
    <ds:schemaRef ds:uri="e6b17203-28e5-4714-b41a-86da136118d4"/>
    <ds:schemaRef ds:uri="http://purl.org/dc/terms/"/>
    <ds:schemaRef ds:uri="http://schemas.openxmlformats.org/package/2006/metadata/core-properties"/>
    <ds:schemaRef ds:uri="0782de24-a0b6-471a-a54c-a20666d772c0"/>
    <ds:schemaRef ds:uri="http://www.w3.org/XML/1998/namespace"/>
    <ds:schemaRef ds:uri="http://purl.org/dc/dcmitype/"/>
  </ds:schemaRefs>
</ds:datastoreItem>
</file>

<file path=customXml/itemProps2.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3.xml><?xml version="1.0" encoding="utf-8"?>
<ds:datastoreItem xmlns:ds="http://schemas.openxmlformats.org/officeDocument/2006/customXml" ds:itemID="{2DA1E1F8-2B0C-4926-909C-E1F30E55CC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82de24-a0b6-471a-a54c-a20666d772c0"/>
    <ds:schemaRef ds:uri="9b096da1-55ae-40f0-828e-d96caf0055d1"/>
    <ds:schemaRef ds:uri="e6b17203-28e5-4714-b41a-86da136118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56</Words>
  <Application>Microsoft Office PowerPoint</Application>
  <PresentationFormat>Widescreen</PresentationFormat>
  <Paragraphs>52</Paragraphs>
  <Slides>5</Slides>
  <Notes>4</Notes>
  <HiddenSlides>0</HiddenSlides>
  <MMClips>4</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Arial Narrow</vt:lpstr>
      <vt:lpstr>Segoe UI</vt:lpstr>
      <vt:lpstr>Segoe UI Semibold</vt:lpstr>
      <vt:lpstr>Sensirion Master</vt:lpstr>
      <vt:lpstr>think-cell Folie</vt:lpstr>
      <vt:lpstr>SGD43S-M3-Sx</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varo Charlet</dc:creator>
  <cp:lastModifiedBy>Alvaro Charlet</cp:lastModifiedBy>
  <cp:revision>1</cp:revision>
  <dcterms:created xsi:type="dcterms:W3CDTF">2025-05-08T07:15:11Z</dcterms:created>
  <dcterms:modified xsi:type="dcterms:W3CDTF">2025-05-08T13:3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EC63112E13CE4788F7ECCEE3C78555</vt:lpwstr>
  </property>
  <property fmtid="{D5CDD505-2E9C-101B-9397-08002B2CF9AE}" pid="3" name="MediaServiceImageTags">
    <vt:lpwstr/>
  </property>
</Properties>
</file>